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2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4.xml" ContentType="application/vnd.openxmlformats-officedocument.them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1" r:id="rId5"/>
    <p:sldMasterId id="2147483677" r:id="rId6"/>
    <p:sldMasterId id="2147483690" r:id="rId7"/>
    <p:sldMasterId id="2147483703" r:id="rId8"/>
  </p:sldMasterIdLst>
  <p:notesMasterIdLst>
    <p:notesMasterId r:id="rId21"/>
  </p:notesMasterIdLst>
  <p:sldIdLst>
    <p:sldId id="612" r:id="rId9"/>
    <p:sldId id="614" r:id="rId10"/>
    <p:sldId id="626" r:id="rId11"/>
    <p:sldId id="621" r:id="rId12"/>
    <p:sldId id="629" r:id="rId13"/>
    <p:sldId id="627" r:id="rId14"/>
    <p:sldId id="623" r:id="rId15"/>
    <p:sldId id="631" r:id="rId16"/>
    <p:sldId id="632" r:id="rId17"/>
    <p:sldId id="624" r:id="rId18"/>
    <p:sldId id="630" r:id="rId19"/>
    <p:sldId id="620" r:id="rId20"/>
  </p:sldIdLst>
  <p:sldSz cx="12192000" cy="6858000"/>
  <p:notesSz cx="6858000" cy="9144000"/>
  <p:defaultTextStyle>
    <a:defPPr>
      <a:defRPr lang="en-US"/>
    </a:defPPr>
    <a:lvl1pPr marL="0" algn="l" defTabSz="91431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58" algn="l" defTabSz="91431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17" algn="l" defTabSz="91431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475" algn="l" defTabSz="91431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633" algn="l" defTabSz="91431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790" algn="l" defTabSz="91431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949" algn="l" defTabSz="91431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107" algn="l" defTabSz="91431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265" algn="l" defTabSz="91431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33"/>
    <a:srgbClr val="245B77"/>
    <a:srgbClr val="4F5D67"/>
    <a:srgbClr val="FF6600"/>
    <a:srgbClr val="FFFFFF"/>
    <a:srgbClr val="FF0066"/>
    <a:srgbClr val="FF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073A0DAA-6AF3-43AB-8588-CEC1D06C72B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90" autoAdjust="0"/>
    <p:restoredTop sz="92670" autoAdjust="0"/>
  </p:normalViewPr>
  <p:slideViewPr>
    <p:cSldViewPr snapToGrid="0">
      <p:cViewPr varScale="1">
        <p:scale>
          <a:sx n="82" d="100"/>
          <a:sy n="82" d="100"/>
        </p:scale>
        <p:origin x="630" y="39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 showGuides="1">
      <p:cViewPr varScale="1">
        <p:scale>
          <a:sx n="97" d="100"/>
          <a:sy n="97" d="100"/>
        </p:scale>
        <p:origin x="3120" y="20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4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Master" Target="slideMasters/slideMaster3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3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7.xml"/><Relationship Id="rId23" Type="http://schemas.openxmlformats.org/officeDocument/2006/relationships/viewProps" Target="viewProp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4" Type="http://schemas.openxmlformats.org/officeDocument/2006/relationships/customXml" Target="../customXml/item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zkob\Desktop\DOE1\graph%20creation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zkob\Desktop\DOE1\graph%20creation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zkob\Desktop\DOE1\graph%20creation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200" b="0" i="0" baseline="0">
                <a:solidFill>
                  <a:sysClr val="windowText" lastClr="000000"/>
                </a:solidFill>
                <a:effectLst/>
              </a:rPr>
              <a:t>Time Spent (After 10 Pictures)</a:t>
            </a:r>
            <a:endParaRPr lang="en-US" sz="1050">
              <a:solidFill>
                <a:sysClr val="windowText" lastClr="000000"/>
              </a:solidFill>
              <a:effectLst/>
            </a:endParaRPr>
          </a:p>
        </c:rich>
      </c:tx>
      <c:overlay val="0"/>
      <c:spPr>
        <a:solidFill>
          <a:sysClr val="window" lastClr="FFFFFF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v>Human</c:v>
          </c:tx>
          <c:spPr>
            <a:ln w="28575" cap="rnd">
              <a:solidFill>
                <a:srgbClr val="002060"/>
              </a:solidFill>
              <a:round/>
            </a:ln>
            <a:effectLst/>
          </c:spPr>
          <c:marker>
            <c:symbol val="none"/>
          </c:marker>
          <c:cat>
            <c:numRef>
              <c:f>Sheet1!$C$4:$C$14</c:f>
              <c:numCache>
                <c:formatCode>General</c:formatCode>
                <c:ptCount val="1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</c:numCache>
            </c:numRef>
          </c:cat>
          <c:val>
            <c:numRef>
              <c:f>Sheet1!$H$11:$H$21</c:f>
              <c:numCache>
                <c:formatCode>General</c:formatCode>
                <c:ptCount val="11"/>
                <c:pt idx="0">
                  <c:v>0</c:v>
                </c:pt>
                <c:pt idx="1">
                  <c:v>60</c:v>
                </c:pt>
                <c:pt idx="2">
                  <c:v>120</c:v>
                </c:pt>
                <c:pt idx="3">
                  <c:v>180</c:v>
                </c:pt>
                <c:pt idx="4">
                  <c:v>240</c:v>
                </c:pt>
                <c:pt idx="5">
                  <c:v>300</c:v>
                </c:pt>
                <c:pt idx="6">
                  <c:v>370</c:v>
                </c:pt>
                <c:pt idx="7">
                  <c:v>440</c:v>
                </c:pt>
                <c:pt idx="8">
                  <c:v>510</c:v>
                </c:pt>
                <c:pt idx="9">
                  <c:v>580</c:v>
                </c:pt>
                <c:pt idx="10">
                  <c:v>65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DC2-477F-98D3-EC6A5F0147B3}"/>
            </c:ext>
          </c:extLst>
        </c:ser>
        <c:ser>
          <c:idx val="1"/>
          <c:order val="1"/>
          <c:tx>
            <c:v>Automated Extraction Process</c:v>
          </c:tx>
          <c:spPr>
            <a:ln w="28575" cap="rnd">
              <a:solidFill>
                <a:srgbClr val="58A808"/>
              </a:solidFill>
              <a:round/>
            </a:ln>
            <a:effectLst/>
          </c:spPr>
          <c:marker>
            <c:symbol val="none"/>
          </c:marker>
          <c:cat>
            <c:numRef>
              <c:f>Sheet1!$C$4:$C$14</c:f>
              <c:numCache>
                <c:formatCode>General</c:formatCode>
                <c:ptCount val="1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</c:numCache>
            </c:numRef>
          </c:cat>
          <c:val>
            <c:numRef>
              <c:f>Sheet1!$I$11:$I$21</c:f>
              <c:numCache>
                <c:formatCode>General</c:formatCode>
                <c:ptCount val="11"/>
                <c:pt idx="0">
                  <c:v>0</c:v>
                </c:pt>
                <c:pt idx="1">
                  <c:v>36</c:v>
                </c:pt>
                <c:pt idx="2">
                  <c:v>72</c:v>
                </c:pt>
                <c:pt idx="3">
                  <c:v>108</c:v>
                </c:pt>
                <c:pt idx="4">
                  <c:v>144</c:v>
                </c:pt>
                <c:pt idx="5">
                  <c:v>180</c:v>
                </c:pt>
                <c:pt idx="6">
                  <c:v>216</c:v>
                </c:pt>
                <c:pt idx="7">
                  <c:v>252</c:v>
                </c:pt>
                <c:pt idx="8">
                  <c:v>288</c:v>
                </c:pt>
                <c:pt idx="9">
                  <c:v>324</c:v>
                </c:pt>
                <c:pt idx="10">
                  <c:v>36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DC2-477F-98D3-EC6A5F0147B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900569008"/>
        <c:axId val="1900574416"/>
      </c:lineChart>
      <c:catAx>
        <c:axId val="190056900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900" dirty="0">
                    <a:solidFill>
                      <a:sysClr val="windowText" lastClr="000000"/>
                    </a:solidFill>
                  </a:rPr>
                  <a:t>Picture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00574416"/>
        <c:crosses val="autoZero"/>
        <c:auto val="1"/>
        <c:lblAlgn val="ctr"/>
        <c:lblOffset val="100"/>
        <c:noMultiLvlLbl val="0"/>
      </c:catAx>
      <c:valAx>
        <c:axId val="19005744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900" dirty="0">
                    <a:solidFill>
                      <a:sysClr val="windowText" lastClr="000000"/>
                    </a:solidFill>
                  </a:rPr>
                  <a:t>Second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005690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1200" dirty="0">
                <a:solidFill>
                  <a:sysClr val="windowText" lastClr="000000"/>
                </a:solidFill>
              </a:rPr>
              <a:t>Time</a:t>
            </a:r>
            <a:r>
              <a:rPr lang="en-US" sz="1200" baseline="0" dirty="0">
                <a:solidFill>
                  <a:sysClr val="windowText" lastClr="000000"/>
                </a:solidFill>
              </a:rPr>
              <a:t> Spent (After 30 Pictures)</a:t>
            </a:r>
            <a:endParaRPr lang="en-US" sz="1200" dirty="0">
              <a:solidFill>
                <a:sysClr val="windowText" lastClr="000000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v>Human</c:v>
          </c:tx>
          <c:spPr>
            <a:ln w="28575" cap="rnd">
              <a:solidFill>
                <a:srgbClr val="002060"/>
              </a:solidFill>
              <a:round/>
            </a:ln>
            <a:effectLst/>
          </c:spPr>
          <c:marker>
            <c:symbol val="none"/>
          </c:marker>
          <c:cat>
            <c:numRef>
              <c:f>Sheet1!$C$4:$C$34</c:f>
              <c:numCache>
                <c:formatCode>General</c:formatCode>
                <c:ptCount val="3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</c:numCache>
            </c:numRef>
          </c:cat>
          <c:val>
            <c:numRef>
              <c:f>Sheet1!$H$11:$H$41</c:f>
              <c:numCache>
                <c:formatCode>General</c:formatCode>
                <c:ptCount val="31"/>
                <c:pt idx="0">
                  <c:v>0</c:v>
                </c:pt>
                <c:pt idx="1">
                  <c:v>60</c:v>
                </c:pt>
                <c:pt idx="2">
                  <c:v>120</c:v>
                </c:pt>
                <c:pt idx="3">
                  <c:v>180</c:v>
                </c:pt>
                <c:pt idx="4">
                  <c:v>240</c:v>
                </c:pt>
                <c:pt idx="5">
                  <c:v>300</c:v>
                </c:pt>
                <c:pt idx="6">
                  <c:v>370</c:v>
                </c:pt>
                <c:pt idx="7">
                  <c:v>440</c:v>
                </c:pt>
                <c:pt idx="8">
                  <c:v>510</c:v>
                </c:pt>
                <c:pt idx="9">
                  <c:v>580</c:v>
                </c:pt>
                <c:pt idx="10">
                  <c:v>650</c:v>
                </c:pt>
                <c:pt idx="11">
                  <c:v>730</c:v>
                </c:pt>
                <c:pt idx="12">
                  <c:v>810</c:v>
                </c:pt>
                <c:pt idx="13">
                  <c:v>890</c:v>
                </c:pt>
                <c:pt idx="14">
                  <c:v>970</c:v>
                </c:pt>
                <c:pt idx="15">
                  <c:v>1050</c:v>
                </c:pt>
                <c:pt idx="16">
                  <c:v>1140</c:v>
                </c:pt>
                <c:pt idx="17">
                  <c:v>1230</c:v>
                </c:pt>
                <c:pt idx="18">
                  <c:v>1320</c:v>
                </c:pt>
                <c:pt idx="19">
                  <c:v>1410</c:v>
                </c:pt>
                <c:pt idx="20">
                  <c:v>1500</c:v>
                </c:pt>
                <c:pt idx="21">
                  <c:v>1600</c:v>
                </c:pt>
                <c:pt idx="22">
                  <c:v>1700</c:v>
                </c:pt>
                <c:pt idx="23">
                  <c:v>1800</c:v>
                </c:pt>
                <c:pt idx="24">
                  <c:v>1900</c:v>
                </c:pt>
                <c:pt idx="25">
                  <c:v>2000</c:v>
                </c:pt>
                <c:pt idx="26">
                  <c:v>2110</c:v>
                </c:pt>
                <c:pt idx="27">
                  <c:v>2220</c:v>
                </c:pt>
                <c:pt idx="28">
                  <c:v>2330</c:v>
                </c:pt>
                <c:pt idx="29">
                  <c:v>2440</c:v>
                </c:pt>
                <c:pt idx="30">
                  <c:v>255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A62C-458F-A577-B5A4C5CBF71B}"/>
            </c:ext>
          </c:extLst>
        </c:ser>
        <c:ser>
          <c:idx val="1"/>
          <c:order val="1"/>
          <c:tx>
            <c:v>Automated Extraction Process</c:v>
          </c:tx>
          <c:spPr>
            <a:ln w="28575" cap="rnd">
              <a:solidFill>
                <a:srgbClr val="58A808"/>
              </a:solidFill>
              <a:round/>
            </a:ln>
            <a:effectLst/>
          </c:spPr>
          <c:marker>
            <c:symbol val="none"/>
          </c:marker>
          <c:cat>
            <c:numRef>
              <c:f>Sheet1!$C$4:$C$34</c:f>
              <c:numCache>
                <c:formatCode>General</c:formatCode>
                <c:ptCount val="3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</c:numCache>
            </c:numRef>
          </c:cat>
          <c:val>
            <c:numRef>
              <c:f>Sheet1!$I$11:$I$41</c:f>
              <c:numCache>
                <c:formatCode>General</c:formatCode>
                <c:ptCount val="31"/>
                <c:pt idx="0">
                  <c:v>0</c:v>
                </c:pt>
                <c:pt idx="1">
                  <c:v>36</c:v>
                </c:pt>
                <c:pt idx="2">
                  <c:v>72</c:v>
                </c:pt>
                <c:pt idx="3">
                  <c:v>108</c:v>
                </c:pt>
                <c:pt idx="4">
                  <c:v>144</c:v>
                </c:pt>
                <c:pt idx="5">
                  <c:v>180</c:v>
                </c:pt>
                <c:pt idx="6">
                  <c:v>216</c:v>
                </c:pt>
                <c:pt idx="7">
                  <c:v>252</c:v>
                </c:pt>
                <c:pt idx="8">
                  <c:v>288</c:v>
                </c:pt>
                <c:pt idx="9">
                  <c:v>324</c:v>
                </c:pt>
                <c:pt idx="10">
                  <c:v>360</c:v>
                </c:pt>
                <c:pt idx="11">
                  <c:v>396</c:v>
                </c:pt>
                <c:pt idx="12">
                  <c:v>432</c:v>
                </c:pt>
                <c:pt idx="13">
                  <c:v>468</c:v>
                </c:pt>
                <c:pt idx="14">
                  <c:v>504</c:v>
                </c:pt>
                <c:pt idx="15">
                  <c:v>540</c:v>
                </c:pt>
                <c:pt idx="16">
                  <c:v>576</c:v>
                </c:pt>
                <c:pt idx="17">
                  <c:v>612</c:v>
                </c:pt>
                <c:pt idx="18">
                  <c:v>648</c:v>
                </c:pt>
                <c:pt idx="19">
                  <c:v>684</c:v>
                </c:pt>
                <c:pt idx="20">
                  <c:v>720</c:v>
                </c:pt>
                <c:pt idx="21">
                  <c:v>756</c:v>
                </c:pt>
                <c:pt idx="22">
                  <c:v>792</c:v>
                </c:pt>
                <c:pt idx="23">
                  <c:v>828</c:v>
                </c:pt>
                <c:pt idx="24">
                  <c:v>864</c:v>
                </c:pt>
                <c:pt idx="25">
                  <c:v>900</c:v>
                </c:pt>
                <c:pt idx="26">
                  <c:v>936</c:v>
                </c:pt>
                <c:pt idx="27">
                  <c:v>972</c:v>
                </c:pt>
                <c:pt idx="28">
                  <c:v>1008</c:v>
                </c:pt>
                <c:pt idx="29">
                  <c:v>1044</c:v>
                </c:pt>
                <c:pt idx="30">
                  <c:v>108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62C-458F-A577-B5A4C5CBF71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485787343"/>
        <c:axId val="1485801487"/>
      </c:lineChart>
      <c:catAx>
        <c:axId val="1485787343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900" dirty="0">
                    <a:solidFill>
                      <a:sysClr val="windowText" lastClr="000000"/>
                    </a:solidFill>
                  </a:rPr>
                  <a:t>Picture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85801487"/>
        <c:crosses val="autoZero"/>
        <c:auto val="1"/>
        <c:lblAlgn val="ctr"/>
        <c:lblOffset val="100"/>
        <c:tickLblSkip val="5"/>
        <c:noMultiLvlLbl val="0"/>
      </c:catAx>
      <c:valAx>
        <c:axId val="148580148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900" dirty="0">
                    <a:solidFill>
                      <a:sysClr val="windowText" lastClr="000000"/>
                    </a:solidFill>
                  </a:rPr>
                  <a:t>Second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8578734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200" dirty="0">
                <a:solidFill>
                  <a:sysClr val="windowText" lastClr="000000"/>
                </a:solidFill>
              </a:rPr>
              <a:t>Time Spent(After</a:t>
            </a:r>
            <a:r>
              <a:rPr lang="en-US" sz="1200" baseline="0" dirty="0">
                <a:solidFill>
                  <a:sysClr val="windowText" lastClr="000000"/>
                </a:solidFill>
              </a:rPr>
              <a:t> 50 Pictures</a:t>
            </a:r>
            <a:r>
              <a:rPr lang="en-US" baseline="0" dirty="0">
                <a:solidFill>
                  <a:sysClr val="windowText" lastClr="000000"/>
                </a:solidFill>
              </a:rPr>
              <a:t>)</a:t>
            </a:r>
            <a:endParaRPr lang="en-US" dirty="0">
              <a:solidFill>
                <a:sysClr val="windowText" lastClr="000000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v>Human</c:v>
          </c:tx>
          <c:spPr>
            <a:ln w="28575" cap="rnd">
              <a:solidFill>
                <a:srgbClr val="002060"/>
              </a:solidFill>
              <a:round/>
            </a:ln>
            <a:effectLst/>
          </c:spPr>
          <c:marker>
            <c:symbol val="none"/>
          </c:marker>
          <c:cat>
            <c:numRef>
              <c:f>Sheet1!$C$4:$C$54</c:f>
              <c:numCache>
                <c:formatCode>General</c:formatCode>
                <c:ptCount val="5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</c:numCache>
            </c:numRef>
          </c:cat>
          <c:val>
            <c:numRef>
              <c:f>Sheet1!$H$11:$H$61</c:f>
              <c:numCache>
                <c:formatCode>General</c:formatCode>
                <c:ptCount val="51"/>
                <c:pt idx="0">
                  <c:v>0</c:v>
                </c:pt>
                <c:pt idx="1">
                  <c:v>60</c:v>
                </c:pt>
                <c:pt idx="2">
                  <c:v>120</c:v>
                </c:pt>
                <c:pt idx="3">
                  <c:v>180</c:v>
                </c:pt>
                <c:pt idx="4">
                  <c:v>240</c:v>
                </c:pt>
                <c:pt idx="5">
                  <c:v>300</c:v>
                </c:pt>
                <c:pt idx="6">
                  <c:v>370</c:v>
                </c:pt>
                <c:pt idx="7">
                  <c:v>440</c:v>
                </c:pt>
                <c:pt idx="8">
                  <c:v>510</c:v>
                </c:pt>
                <c:pt idx="9">
                  <c:v>580</c:v>
                </c:pt>
                <c:pt idx="10">
                  <c:v>650</c:v>
                </c:pt>
                <c:pt idx="11">
                  <c:v>730</c:v>
                </c:pt>
                <c:pt idx="12">
                  <c:v>810</c:v>
                </c:pt>
                <c:pt idx="13">
                  <c:v>890</c:v>
                </c:pt>
                <c:pt idx="14">
                  <c:v>970</c:v>
                </c:pt>
                <c:pt idx="15">
                  <c:v>1050</c:v>
                </c:pt>
                <c:pt idx="16">
                  <c:v>1140</c:v>
                </c:pt>
                <c:pt idx="17">
                  <c:v>1230</c:v>
                </c:pt>
                <c:pt idx="18">
                  <c:v>1320</c:v>
                </c:pt>
                <c:pt idx="19">
                  <c:v>1410</c:v>
                </c:pt>
                <c:pt idx="20">
                  <c:v>1500</c:v>
                </c:pt>
                <c:pt idx="21">
                  <c:v>1600</c:v>
                </c:pt>
                <c:pt idx="22">
                  <c:v>1700</c:v>
                </c:pt>
                <c:pt idx="23">
                  <c:v>1800</c:v>
                </c:pt>
                <c:pt idx="24">
                  <c:v>1900</c:v>
                </c:pt>
                <c:pt idx="25">
                  <c:v>2000</c:v>
                </c:pt>
                <c:pt idx="26">
                  <c:v>2110</c:v>
                </c:pt>
                <c:pt idx="27">
                  <c:v>2220</c:v>
                </c:pt>
                <c:pt idx="28">
                  <c:v>2330</c:v>
                </c:pt>
                <c:pt idx="29">
                  <c:v>2440</c:v>
                </c:pt>
                <c:pt idx="30">
                  <c:v>2550</c:v>
                </c:pt>
                <c:pt idx="31">
                  <c:v>2670</c:v>
                </c:pt>
                <c:pt idx="32">
                  <c:v>2790</c:v>
                </c:pt>
                <c:pt idx="33">
                  <c:v>2910</c:v>
                </c:pt>
                <c:pt idx="34">
                  <c:v>3030</c:v>
                </c:pt>
                <c:pt idx="35">
                  <c:v>3150</c:v>
                </c:pt>
                <c:pt idx="36">
                  <c:v>3280</c:v>
                </c:pt>
                <c:pt idx="37">
                  <c:v>3410</c:v>
                </c:pt>
                <c:pt idx="38">
                  <c:v>3540</c:v>
                </c:pt>
                <c:pt idx="39">
                  <c:v>3670</c:v>
                </c:pt>
                <c:pt idx="40">
                  <c:v>3800</c:v>
                </c:pt>
                <c:pt idx="41">
                  <c:v>3940</c:v>
                </c:pt>
                <c:pt idx="42">
                  <c:v>4080</c:v>
                </c:pt>
                <c:pt idx="43">
                  <c:v>4220</c:v>
                </c:pt>
                <c:pt idx="44">
                  <c:v>4360</c:v>
                </c:pt>
                <c:pt idx="45">
                  <c:v>4500</c:v>
                </c:pt>
                <c:pt idx="46">
                  <c:v>4650</c:v>
                </c:pt>
                <c:pt idx="47">
                  <c:v>4800</c:v>
                </c:pt>
                <c:pt idx="48">
                  <c:v>4950</c:v>
                </c:pt>
                <c:pt idx="49">
                  <c:v>5100</c:v>
                </c:pt>
                <c:pt idx="50">
                  <c:v>525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C33-4562-B2D5-4F50E4DC21B0}"/>
            </c:ext>
          </c:extLst>
        </c:ser>
        <c:ser>
          <c:idx val="1"/>
          <c:order val="1"/>
          <c:tx>
            <c:v>Automated Extraction Process</c:v>
          </c:tx>
          <c:spPr>
            <a:ln w="28575" cap="rnd">
              <a:solidFill>
                <a:srgbClr val="58A808"/>
              </a:solidFill>
              <a:round/>
            </a:ln>
            <a:effectLst/>
          </c:spPr>
          <c:marker>
            <c:symbol val="none"/>
          </c:marker>
          <c:cat>
            <c:numRef>
              <c:f>Sheet1!$C$4:$C$54</c:f>
              <c:numCache>
                <c:formatCode>General</c:formatCode>
                <c:ptCount val="5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</c:numCache>
            </c:numRef>
          </c:cat>
          <c:val>
            <c:numRef>
              <c:f>Sheet1!$I$11:$I$61</c:f>
              <c:numCache>
                <c:formatCode>General</c:formatCode>
                <c:ptCount val="51"/>
                <c:pt idx="0">
                  <c:v>0</c:v>
                </c:pt>
                <c:pt idx="1">
                  <c:v>36</c:v>
                </c:pt>
                <c:pt idx="2">
                  <c:v>72</c:v>
                </c:pt>
                <c:pt idx="3">
                  <c:v>108</c:v>
                </c:pt>
                <c:pt idx="4">
                  <c:v>144</c:v>
                </c:pt>
                <c:pt idx="5">
                  <c:v>180</c:v>
                </c:pt>
                <c:pt idx="6">
                  <c:v>216</c:v>
                </c:pt>
                <c:pt idx="7">
                  <c:v>252</c:v>
                </c:pt>
                <c:pt idx="8">
                  <c:v>288</c:v>
                </c:pt>
                <c:pt idx="9">
                  <c:v>324</c:v>
                </c:pt>
                <c:pt idx="10">
                  <c:v>360</c:v>
                </c:pt>
                <c:pt idx="11">
                  <c:v>396</c:v>
                </c:pt>
                <c:pt idx="12">
                  <c:v>432</c:v>
                </c:pt>
                <c:pt idx="13">
                  <c:v>468</c:v>
                </c:pt>
                <c:pt idx="14">
                  <c:v>504</c:v>
                </c:pt>
                <c:pt idx="15">
                  <c:v>540</c:v>
                </c:pt>
                <c:pt idx="16">
                  <c:v>576</c:v>
                </c:pt>
                <c:pt idx="17">
                  <c:v>612</c:v>
                </c:pt>
                <c:pt idx="18">
                  <c:v>648</c:v>
                </c:pt>
                <c:pt idx="19">
                  <c:v>684</c:v>
                </c:pt>
                <c:pt idx="20">
                  <c:v>720</c:v>
                </c:pt>
                <c:pt idx="21">
                  <c:v>756</c:v>
                </c:pt>
                <c:pt idx="22">
                  <c:v>792</c:v>
                </c:pt>
                <c:pt idx="23">
                  <c:v>828</c:v>
                </c:pt>
                <c:pt idx="24">
                  <c:v>864</c:v>
                </c:pt>
                <c:pt idx="25">
                  <c:v>900</c:v>
                </c:pt>
                <c:pt idx="26">
                  <c:v>936</c:v>
                </c:pt>
                <c:pt idx="27">
                  <c:v>972</c:v>
                </c:pt>
                <c:pt idx="28">
                  <c:v>1008</c:v>
                </c:pt>
                <c:pt idx="29">
                  <c:v>1044</c:v>
                </c:pt>
                <c:pt idx="30">
                  <c:v>1080</c:v>
                </c:pt>
                <c:pt idx="31">
                  <c:v>1116</c:v>
                </c:pt>
                <c:pt idx="32">
                  <c:v>1152</c:v>
                </c:pt>
                <c:pt idx="33">
                  <c:v>1188</c:v>
                </c:pt>
                <c:pt idx="34">
                  <c:v>1224</c:v>
                </c:pt>
                <c:pt idx="35">
                  <c:v>1260</c:v>
                </c:pt>
                <c:pt idx="36">
                  <c:v>1296</c:v>
                </c:pt>
                <c:pt idx="37">
                  <c:v>1332</c:v>
                </c:pt>
                <c:pt idx="38">
                  <c:v>1368</c:v>
                </c:pt>
                <c:pt idx="39">
                  <c:v>1404</c:v>
                </c:pt>
                <c:pt idx="40">
                  <c:v>1440</c:v>
                </c:pt>
                <c:pt idx="41">
                  <c:v>1476</c:v>
                </c:pt>
                <c:pt idx="42">
                  <c:v>1512</c:v>
                </c:pt>
                <c:pt idx="43">
                  <c:v>1548</c:v>
                </c:pt>
                <c:pt idx="44">
                  <c:v>1584</c:v>
                </c:pt>
                <c:pt idx="45">
                  <c:v>1620</c:v>
                </c:pt>
                <c:pt idx="46">
                  <c:v>1656</c:v>
                </c:pt>
                <c:pt idx="47">
                  <c:v>1692</c:v>
                </c:pt>
                <c:pt idx="48">
                  <c:v>1728</c:v>
                </c:pt>
                <c:pt idx="49">
                  <c:v>1764</c:v>
                </c:pt>
                <c:pt idx="50">
                  <c:v>18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C33-4562-B2D5-4F50E4DC21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708955023"/>
        <c:axId val="1708965423"/>
      </c:lineChart>
      <c:catAx>
        <c:axId val="1708955023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900" dirty="0">
                    <a:solidFill>
                      <a:sysClr val="windowText" lastClr="000000"/>
                    </a:solidFill>
                  </a:rPr>
                  <a:t>Picture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08965423"/>
        <c:crosses val="autoZero"/>
        <c:auto val="1"/>
        <c:lblAlgn val="ctr"/>
        <c:lblOffset val="100"/>
        <c:tickLblSkip val="5"/>
        <c:noMultiLvlLbl val="0"/>
      </c:catAx>
      <c:valAx>
        <c:axId val="170896542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900" dirty="0">
                    <a:solidFill>
                      <a:sysClr val="windowText" lastClr="000000"/>
                    </a:solidFill>
                  </a:rPr>
                  <a:t>Second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0895502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10671E0-B661-4F2E-9188-0DBE52DFE61E}" type="datetimeFigureOut">
              <a:rPr lang="en-US" smtClean="0"/>
              <a:t>6/12/2025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A47F94B-11AA-4D22-9CB2-4603CDB8CBD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06980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1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58" algn="l" defTabSz="91431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17" algn="l" defTabSz="91431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475" algn="l" defTabSz="91431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633" algn="l" defTabSz="91431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790" algn="l" defTabSz="91431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949" algn="l" defTabSz="91431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07" algn="l" defTabSz="91431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265" algn="l" defTabSz="91431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47F94B-11AA-4D22-9CB2-4603CDB8CBDB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29969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47F94B-11AA-4D22-9CB2-4603CDB8CBDB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819715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47F94B-11AA-4D22-9CB2-4603CDB8CBDB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29025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47F94B-11AA-4D22-9CB2-4603CDB8CBDB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431102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47F94B-11AA-4D22-9CB2-4603CDB8CBDB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38101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6.png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14.jpe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3.bin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3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4.xml"/><Relationship Id="rId4" Type="http://schemas.openxmlformats.org/officeDocument/2006/relationships/image" Target="../media/image17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5.xml"/><Relationship Id="rId4" Type="http://schemas.openxmlformats.org/officeDocument/2006/relationships/image" Target="../media/image17.emf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9.png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18.jpeg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6.png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14.jpe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3.bin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3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1.xml"/><Relationship Id="rId4" Type="http://schemas.openxmlformats.org/officeDocument/2006/relationships/image" Target="../media/image17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2.xml"/><Relationship Id="rId4" Type="http://schemas.openxmlformats.org/officeDocument/2006/relationships/image" Target="../media/image17.emf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9.png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18.jpeg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-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3BBD2A96-445A-0840-9CE6-762C01BE3D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9"/>
            <a:ext cx="12192000" cy="6856781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9902292-52BF-8142-94C1-BBF62D6DFACC}"/>
              </a:ext>
            </a:extLst>
          </p:cNvPr>
          <p:cNvSpPr txBox="1"/>
          <p:nvPr userDrawn="1"/>
        </p:nvSpPr>
        <p:spPr>
          <a:xfrm>
            <a:off x="550899" y="6491809"/>
            <a:ext cx="25310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fld id="{334DA5DD-9C8C-6E48-9733-9F5D468F39D5}" type="slidenum">
              <a:rPr lang="en-DE"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DE" sz="9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158E6C7-66E4-534E-800A-28B0FEBBE9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6670" y="2008428"/>
            <a:ext cx="11076174" cy="1534988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 sz="4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Headline</a:t>
            </a:r>
            <a:endParaRPr lang="en-DE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140C47D-4A64-3543-A883-AE7900989A30}"/>
              </a:ext>
            </a:extLst>
          </p:cNvPr>
          <p:cNvSpPr txBox="1"/>
          <p:nvPr userDrawn="1"/>
        </p:nvSpPr>
        <p:spPr>
          <a:xfrm>
            <a:off x="546670" y="505626"/>
            <a:ext cx="2668423" cy="2769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DE" sz="15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nsing is lif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59374759-9A1C-AF4E-BDFC-6340478CCA5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414395" y="548482"/>
            <a:ext cx="2215944" cy="238625"/>
          </a:xfrm>
          <a:prstGeom prst="rect">
            <a:avLst/>
          </a:prstGeom>
        </p:spPr>
      </p:pic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C95FB517-ABC1-0F42-8E1B-3ADBDD46DFC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50899" y="4773702"/>
            <a:ext cx="10167806" cy="130621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ts val="1850"/>
              </a:lnSpc>
              <a:spcBef>
                <a:spcPts val="0"/>
              </a:spcBef>
              <a:buNone/>
              <a:defRPr sz="15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500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500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500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Name Surname, Department/Title, Legal Entity</a:t>
            </a:r>
          </a:p>
        </p:txBody>
      </p:sp>
      <p:sp>
        <p:nvSpPr>
          <p:cNvPr id="19" name="Footer Placeholder 18">
            <a:extLst>
              <a:ext uri="{FF2B5EF4-FFF2-40B4-BE49-F238E27FC236}">
                <a16:creationId xmlns:a16="http://schemas.microsoft.com/office/drawing/2014/main" id="{76DC4605-721F-A544-BDB5-5C35A99749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DE">
                <a:latin typeface="Arial" panose="020B0604020202020204" pitchFamily="34" charset="0"/>
                <a:cs typeface="Arial" panose="020B0604020202020204" pitchFamily="34" charset="0"/>
              </a:rPr>
              <a:t>For internal use</a:t>
            </a:r>
          </a:p>
        </p:txBody>
      </p:sp>
      <p:sp>
        <p:nvSpPr>
          <p:cNvPr id="10" name="Text Placeholder 17">
            <a:extLst>
              <a:ext uri="{FF2B5EF4-FFF2-40B4-BE49-F238E27FC236}">
                <a16:creationId xmlns:a16="http://schemas.microsoft.com/office/drawing/2014/main" id="{9C940B57-E068-B946-800C-03C55208052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99" y="6069227"/>
            <a:ext cx="10167806" cy="250536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ts val="1850"/>
              </a:lnSpc>
              <a:spcBef>
                <a:spcPts val="0"/>
              </a:spcBef>
              <a:buNone/>
              <a:defRPr sz="15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500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500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500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D/MM/YYY</a:t>
            </a:r>
          </a:p>
        </p:txBody>
      </p:sp>
      <p:sp>
        <p:nvSpPr>
          <p:cNvPr id="11" name="Text Placeholder 17">
            <a:extLst>
              <a:ext uri="{FF2B5EF4-FFF2-40B4-BE49-F238E27FC236}">
                <a16:creationId xmlns:a16="http://schemas.microsoft.com/office/drawing/2014/main" id="{8427DD70-7C52-7043-93B4-F0AD5E1D46B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99" y="3600000"/>
            <a:ext cx="10167806" cy="64671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ts val="1850"/>
              </a:lnSpc>
              <a:spcBef>
                <a:spcPts val="0"/>
              </a:spcBef>
              <a:buNone/>
              <a:defRPr sz="15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500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500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500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headline</a:t>
            </a:r>
          </a:p>
        </p:txBody>
      </p:sp>
    </p:spTree>
    <p:extLst>
      <p:ext uri="{BB962C8B-B14F-4D97-AF65-F5344CB8AC3E}">
        <p14:creationId xmlns:p14="http://schemas.microsoft.com/office/powerpoint/2010/main" val="170372184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F9902292-52BF-8142-94C1-BBF62D6DFACC}"/>
              </a:ext>
            </a:extLst>
          </p:cNvPr>
          <p:cNvSpPr txBox="1"/>
          <p:nvPr userDrawn="1"/>
        </p:nvSpPr>
        <p:spPr>
          <a:xfrm>
            <a:off x="550899" y="6491809"/>
            <a:ext cx="25310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fld id="{334DA5DD-9C8C-6E48-9733-9F5D468F39D5}" type="slidenum">
              <a:rPr lang="en-DE"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DE" sz="9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158E6C7-66E4-534E-800A-28B0FEBBE9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6670" y="518502"/>
            <a:ext cx="11076174" cy="331917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Headline</a:t>
            </a:r>
            <a:endParaRPr lang="en-DE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6F8A420-9BCE-8C46-BC7F-3B96CD46773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6670" y="899735"/>
            <a:ext cx="11076174" cy="49435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10000"/>
              </a:lnSpc>
              <a:buFontTx/>
              <a:buNone/>
              <a:defRPr sz="15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28600" indent="0">
              <a:buFontTx/>
              <a:buNone/>
              <a:defRPr sz="15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57200" indent="0">
              <a:buFontTx/>
              <a:buNone/>
              <a:defRPr sz="15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685800" indent="0">
              <a:buFontTx/>
              <a:buNone/>
              <a:defRPr sz="15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14400" indent="0">
              <a:buFontTx/>
              <a:buNone/>
              <a:defRPr sz="15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head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8FBB059-B301-164C-9710-E7E222FD1B0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898" y="1551170"/>
            <a:ext cx="9827265" cy="474009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900"/>
              </a:lnSpc>
              <a:buNone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91307" indent="-284163">
              <a:lnSpc>
                <a:spcPts val="1900"/>
              </a:lnSpc>
              <a:buClrTx/>
              <a:buFont typeface="System Font Regular"/>
              <a:buChar char="–"/>
              <a:tabLst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291307" indent="-284163">
              <a:lnSpc>
                <a:spcPts val="1900"/>
              </a:lnSpc>
              <a:buFont typeface="+mj-lt"/>
              <a:buAutoNum type="arabicPeriod"/>
              <a:tabLst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537369" indent="-246063">
              <a:lnSpc>
                <a:spcPts val="1900"/>
              </a:lnSpc>
              <a:buFont typeface="System Font Regular"/>
              <a:buChar char="–"/>
              <a:tabLst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537369" indent="0">
              <a:lnSpc>
                <a:spcPts val="1900"/>
              </a:lnSpc>
              <a:buNone/>
              <a:tabLst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9AE965D5-55BA-B740-B728-3E8D520BD1D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DE">
                <a:latin typeface="Arial" panose="020B0604020202020204" pitchFamily="34" charset="0"/>
                <a:cs typeface="Arial" panose="020B0604020202020204" pitchFamily="34" charset="0"/>
              </a:rPr>
              <a:t>For internal us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50FD415-FF23-5B4D-A181-ABAD87A28C2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78163" y="6463703"/>
            <a:ext cx="1243881" cy="133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929358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F9902292-52BF-8142-94C1-BBF62D6DFACC}"/>
              </a:ext>
            </a:extLst>
          </p:cNvPr>
          <p:cNvSpPr txBox="1"/>
          <p:nvPr userDrawn="1"/>
        </p:nvSpPr>
        <p:spPr>
          <a:xfrm>
            <a:off x="550899" y="6491809"/>
            <a:ext cx="25310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fld id="{334DA5DD-9C8C-6E48-9733-9F5D468F39D5}" type="slidenum">
              <a:rPr lang="en-DE"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DE" sz="9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158E6C7-66E4-534E-800A-28B0FEBBE9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6670" y="518502"/>
            <a:ext cx="11076174" cy="331917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Headline</a:t>
            </a:r>
            <a:endParaRPr lang="en-DE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6F8A420-9BCE-8C46-BC7F-3B96CD46773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6670" y="899735"/>
            <a:ext cx="11076174" cy="49435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10000"/>
              </a:lnSpc>
              <a:buFontTx/>
              <a:buNone/>
              <a:defRPr sz="15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28600" indent="0">
              <a:buFontTx/>
              <a:buNone/>
              <a:defRPr sz="15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57200" indent="0">
              <a:buFontTx/>
              <a:buNone/>
              <a:defRPr sz="15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685800" indent="0">
              <a:buFontTx/>
              <a:buNone/>
              <a:defRPr sz="15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14400" indent="0">
              <a:buFontTx/>
              <a:buNone/>
              <a:defRPr sz="15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head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8FBB059-B301-164C-9710-E7E222FD1B0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898" y="1551170"/>
            <a:ext cx="9827265" cy="107210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900"/>
              </a:lnSpc>
              <a:buNone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91307" indent="-284163">
              <a:lnSpc>
                <a:spcPts val="1900"/>
              </a:lnSpc>
              <a:buClrTx/>
              <a:buFont typeface="System Font Regular"/>
              <a:buChar char="–"/>
              <a:tabLst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291307" indent="-284163">
              <a:lnSpc>
                <a:spcPts val="1900"/>
              </a:lnSpc>
              <a:buFont typeface="+mj-lt"/>
              <a:buAutoNum type="arabicPeriod"/>
              <a:tabLst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537369" indent="-246063">
              <a:lnSpc>
                <a:spcPts val="1900"/>
              </a:lnSpc>
              <a:buFont typeface="System Font Regular"/>
              <a:buChar char="–"/>
              <a:tabLst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537369" indent="0">
              <a:lnSpc>
                <a:spcPts val="1900"/>
              </a:lnSpc>
              <a:buNone/>
              <a:tabLst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9AE965D5-55BA-B740-B728-3E8D520BD1D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DE">
                <a:latin typeface="Arial" panose="020B0604020202020204" pitchFamily="34" charset="0"/>
                <a:cs typeface="Arial" panose="020B0604020202020204" pitchFamily="34" charset="0"/>
              </a:rPr>
              <a:t>For internal us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CEB0E1E-FE31-0042-90E3-E1F94B78879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46670" y="3051359"/>
            <a:ext cx="3524629" cy="19872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lIns="0" tIns="0" rIns="0" bIns="0"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E"/>
          </a:p>
        </p:txBody>
      </p:sp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0F434A6C-7772-994C-B5DC-43862161095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333685" y="3051359"/>
            <a:ext cx="3524629" cy="19872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lIns="0" tIns="0" rIns="0" bIns="0"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E"/>
          </a:p>
        </p:txBody>
      </p:sp>
      <p:sp>
        <p:nvSpPr>
          <p:cNvPr id="13" name="Content Placeholder 4">
            <a:extLst>
              <a:ext uri="{FF2B5EF4-FFF2-40B4-BE49-F238E27FC236}">
                <a16:creationId xmlns:a16="http://schemas.microsoft.com/office/drawing/2014/main" id="{3D3604EA-2D88-4148-9033-6D7EA5F7F1C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098215" y="3051359"/>
            <a:ext cx="3524629" cy="19872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lIns="0" tIns="0" rIns="0" bIns="0"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E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F2947F6-9D63-1E45-B320-D202E671E30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0898" y="5126832"/>
            <a:ext cx="3520511" cy="33980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28600" indent="0">
              <a:buNone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57200" indent="0">
              <a:buNone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685800" indent="0">
              <a:buNone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14400" indent="0">
              <a:buNone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aption</a:t>
            </a:r>
            <a:endParaRPr lang="en-DE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5C281D8F-1B2A-C242-8004-397AAB5442F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35744" y="5126832"/>
            <a:ext cx="3520511" cy="33980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28600" indent="0">
              <a:buNone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57200" indent="0">
              <a:buNone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685800" indent="0">
              <a:buNone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14400" indent="0">
              <a:buNone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aption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E13666D4-C6F6-4641-A153-8E6F069E27B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094574" y="5126832"/>
            <a:ext cx="3520511" cy="33980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28600" indent="0">
              <a:buNone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57200" indent="0">
              <a:buNone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685800" indent="0">
              <a:buNone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14400" indent="0">
              <a:buNone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aption</a:t>
            </a:r>
            <a:endParaRPr lang="en-DE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2E28DB8A-14B5-B246-8C85-966A53C8F3E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78163" y="6463703"/>
            <a:ext cx="1243881" cy="133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575499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+ 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F9902292-52BF-8142-94C1-BBF62D6DFACC}"/>
              </a:ext>
            </a:extLst>
          </p:cNvPr>
          <p:cNvSpPr txBox="1"/>
          <p:nvPr userDrawn="1"/>
        </p:nvSpPr>
        <p:spPr>
          <a:xfrm>
            <a:off x="550899" y="6491809"/>
            <a:ext cx="25310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fld id="{334DA5DD-9C8C-6E48-9733-9F5D468F39D5}" type="slidenum">
              <a:rPr lang="en-DE"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DE" sz="9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158E6C7-66E4-534E-800A-28B0FEBBE9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6670" y="518502"/>
            <a:ext cx="11076174" cy="331917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Headline</a:t>
            </a:r>
            <a:endParaRPr lang="en-DE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6F8A420-9BCE-8C46-BC7F-3B96CD46773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6670" y="899735"/>
            <a:ext cx="11076174" cy="49435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10000"/>
              </a:lnSpc>
              <a:buFontTx/>
              <a:buNone/>
              <a:defRPr sz="15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28600" indent="0">
              <a:buFontTx/>
              <a:buNone/>
              <a:defRPr sz="15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57200" indent="0">
              <a:buFontTx/>
              <a:buNone/>
              <a:defRPr sz="15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685800" indent="0">
              <a:buFontTx/>
              <a:buNone/>
              <a:defRPr sz="15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14400" indent="0">
              <a:buFontTx/>
              <a:buNone/>
              <a:defRPr sz="15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head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8FBB059-B301-164C-9710-E7E222FD1B0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898" y="3702600"/>
            <a:ext cx="3520401" cy="107210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900"/>
              </a:lnSpc>
              <a:buNone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91307" indent="-284163">
              <a:lnSpc>
                <a:spcPts val="1900"/>
              </a:lnSpc>
              <a:buClrTx/>
              <a:buFont typeface="System Font Regular"/>
              <a:buChar char="–"/>
              <a:tabLst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291307" indent="-284163">
              <a:lnSpc>
                <a:spcPts val="1900"/>
              </a:lnSpc>
              <a:buFont typeface="+mj-lt"/>
              <a:buAutoNum type="arabicPeriod"/>
              <a:tabLst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537369" indent="-246063">
              <a:lnSpc>
                <a:spcPts val="1900"/>
              </a:lnSpc>
              <a:buFont typeface="System Font Regular"/>
              <a:buChar char="–"/>
              <a:tabLst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537369" indent="0">
              <a:lnSpc>
                <a:spcPts val="1900"/>
              </a:lnSpc>
              <a:buNone/>
              <a:tabLst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9AE965D5-55BA-B740-B728-3E8D520BD1D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DE">
                <a:latin typeface="Arial" panose="020B0604020202020204" pitchFamily="34" charset="0"/>
                <a:cs typeface="Arial" panose="020B0604020202020204" pitchFamily="34" charset="0"/>
              </a:rPr>
              <a:t>For internal us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CEB0E1E-FE31-0042-90E3-E1F94B78879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46670" y="1581150"/>
            <a:ext cx="3524629" cy="19872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lIns="0" tIns="0" rIns="0" bIns="0"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E"/>
          </a:p>
        </p:txBody>
      </p:sp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0F434A6C-7772-994C-B5DC-43862161095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333685" y="1581150"/>
            <a:ext cx="3524629" cy="19872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lIns="0" tIns="0" rIns="0" bIns="0"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E"/>
          </a:p>
        </p:txBody>
      </p:sp>
      <p:sp>
        <p:nvSpPr>
          <p:cNvPr id="13" name="Content Placeholder 4">
            <a:extLst>
              <a:ext uri="{FF2B5EF4-FFF2-40B4-BE49-F238E27FC236}">
                <a16:creationId xmlns:a16="http://schemas.microsoft.com/office/drawing/2014/main" id="{3D3604EA-2D88-4148-9033-6D7EA5F7F1C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098215" y="1581150"/>
            <a:ext cx="3524629" cy="19872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lIns="0" tIns="0" rIns="0" bIns="0"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E"/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B3FECDA7-043E-C54B-89CA-430AE830875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35799" y="3702600"/>
            <a:ext cx="3520401" cy="107210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900"/>
              </a:lnSpc>
              <a:buNone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91307" indent="-284163">
              <a:lnSpc>
                <a:spcPts val="1900"/>
              </a:lnSpc>
              <a:buClrTx/>
              <a:buFont typeface="System Font Regular"/>
              <a:buChar char="–"/>
              <a:tabLst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291307" indent="-284163">
              <a:lnSpc>
                <a:spcPts val="1900"/>
              </a:lnSpc>
              <a:buFont typeface="+mj-lt"/>
              <a:buAutoNum type="arabicPeriod"/>
              <a:tabLst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537369" indent="-246063">
              <a:lnSpc>
                <a:spcPts val="1900"/>
              </a:lnSpc>
              <a:buFont typeface="System Font Regular"/>
              <a:buChar char="–"/>
              <a:tabLst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537369" indent="0">
              <a:lnSpc>
                <a:spcPts val="1900"/>
              </a:lnSpc>
              <a:buNone/>
              <a:tabLst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86FA7A25-49BE-964A-88C7-D33472314E9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098215" y="3702600"/>
            <a:ext cx="3520401" cy="107210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900"/>
              </a:lnSpc>
              <a:buNone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91307" indent="-284163">
              <a:lnSpc>
                <a:spcPts val="1900"/>
              </a:lnSpc>
              <a:buClrTx/>
              <a:buFont typeface="System Font Regular"/>
              <a:buChar char="–"/>
              <a:tabLst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291307" indent="-284163">
              <a:lnSpc>
                <a:spcPts val="1900"/>
              </a:lnSpc>
              <a:buFont typeface="+mj-lt"/>
              <a:buAutoNum type="arabicPeriod"/>
              <a:tabLst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537369" indent="-246063">
              <a:lnSpc>
                <a:spcPts val="1900"/>
              </a:lnSpc>
              <a:buFont typeface="System Font Regular"/>
              <a:buChar char="–"/>
              <a:tabLst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537369" indent="0">
              <a:lnSpc>
                <a:spcPts val="1900"/>
              </a:lnSpc>
              <a:buNone/>
              <a:tabLst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FD5B65C3-CB30-DF47-9997-D3B5B80F6AA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78163" y="6463703"/>
            <a:ext cx="1243881" cy="133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470271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Images + 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F9902292-52BF-8142-94C1-BBF62D6DFACC}"/>
              </a:ext>
            </a:extLst>
          </p:cNvPr>
          <p:cNvSpPr txBox="1"/>
          <p:nvPr userDrawn="1"/>
        </p:nvSpPr>
        <p:spPr>
          <a:xfrm>
            <a:off x="550899" y="6491809"/>
            <a:ext cx="25310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fld id="{334DA5DD-9C8C-6E48-9733-9F5D468F39D5}" type="slidenum">
              <a:rPr lang="en-DE"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DE" sz="9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158E6C7-66E4-534E-800A-28B0FEBBE9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6670" y="518502"/>
            <a:ext cx="11076174" cy="331917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Headline</a:t>
            </a:r>
            <a:endParaRPr lang="en-DE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6F8A420-9BCE-8C46-BC7F-3B96CD46773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6670" y="899735"/>
            <a:ext cx="11076174" cy="49435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10000"/>
              </a:lnSpc>
              <a:buFontTx/>
              <a:buNone/>
              <a:defRPr sz="15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28600" indent="0">
              <a:buFontTx/>
              <a:buNone/>
              <a:defRPr sz="15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57200" indent="0">
              <a:buFontTx/>
              <a:buNone/>
              <a:defRPr sz="15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685800" indent="0">
              <a:buFontTx/>
              <a:buNone/>
              <a:defRPr sz="15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14400" indent="0">
              <a:buFontTx/>
              <a:buNone/>
              <a:defRPr sz="15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head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8FBB059-B301-164C-9710-E7E222FD1B0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898" y="5238001"/>
            <a:ext cx="3520401" cy="78055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900"/>
              </a:lnSpc>
              <a:buNone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91307" indent="-284163">
              <a:lnSpc>
                <a:spcPts val="1900"/>
              </a:lnSpc>
              <a:buClrTx/>
              <a:buFont typeface="System Font Regular"/>
              <a:buChar char="–"/>
              <a:tabLst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291307" indent="-284163">
              <a:lnSpc>
                <a:spcPts val="1900"/>
              </a:lnSpc>
              <a:buFont typeface="+mj-lt"/>
              <a:buAutoNum type="arabicPeriod"/>
              <a:tabLst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537369" indent="-246063">
              <a:lnSpc>
                <a:spcPts val="1900"/>
              </a:lnSpc>
              <a:buFont typeface="System Font Regular"/>
              <a:buChar char="–"/>
              <a:tabLst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537369" indent="0">
              <a:lnSpc>
                <a:spcPts val="1900"/>
              </a:lnSpc>
              <a:buNone/>
              <a:tabLst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9AE965D5-55BA-B740-B728-3E8D520BD1D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DE">
                <a:latin typeface="Arial" panose="020B0604020202020204" pitchFamily="34" charset="0"/>
                <a:cs typeface="Arial" panose="020B0604020202020204" pitchFamily="34" charset="0"/>
              </a:rPr>
              <a:t>For internal us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CEB0E1E-FE31-0042-90E3-E1F94B78879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46670" y="1581150"/>
            <a:ext cx="3524629" cy="346304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lIns="0" tIns="0" rIns="0" bIns="0"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E"/>
          </a:p>
        </p:txBody>
      </p:sp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0F434A6C-7772-994C-B5DC-43862161095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333685" y="1581150"/>
            <a:ext cx="3524629" cy="346304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lIns="0" tIns="0" rIns="0" bIns="0"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E"/>
          </a:p>
        </p:txBody>
      </p:sp>
      <p:sp>
        <p:nvSpPr>
          <p:cNvPr id="13" name="Content Placeholder 4">
            <a:extLst>
              <a:ext uri="{FF2B5EF4-FFF2-40B4-BE49-F238E27FC236}">
                <a16:creationId xmlns:a16="http://schemas.microsoft.com/office/drawing/2014/main" id="{3D3604EA-2D88-4148-9033-6D7EA5F7F1C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098215" y="1581150"/>
            <a:ext cx="3524629" cy="346304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lIns="0" tIns="0" rIns="0" bIns="0"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E"/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B3FECDA7-043E-C54B-89CA-430AE830875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35799" y="5238001"/>
            <a:ext cx="3520401" cy="78055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900"/>
              </a:lnSpc>
              <a:buNone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91307" indent="-284163">
              <a:lnSpc>
                <a:spcPts val="1900"/>
              </a:lnSpc>
              <a:buClrTx/>
              <a:buFont typeface="System Font Regular"/>
              <a:buChar char="–"/>
              <a:tabLst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291307" indent="-284163">
              <a:lnSpc>
                <a:spcPts val="1900"/>
              </a:lnSpc>
              <a:buFont typeface="+mj-lt"/>
              <a:buAutoNum type="arabicPeriod"/>
              <a:tabLst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537369" indent="-246063">
              <a:lnSpc>
                <a:spcPts val="1900"/>
              </a:lnSpc>
              <a:buFont typeface="System Font Regular"/>
              <a:buChar char="–"/>
              <a:tabLst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537369" indent="0">
              <a:lnSpc>
                <a:spcPts val="1900"/>
              </a:lnSpc>
              <a:buNone/>
              <a:tabLst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86FA7A25-49BE-964A-88C7-D33472314E9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098215" y="5238001"/>
            <a:ext cx="3520401" cy="78055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900"/>
              </a:lnSpc>
              <a:buNone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91307" indent="-284163">
              <a:lnSpc>
                <a:spcPts val="1900"/>
              </a:lnSpc>
              <a:buClrTx/>
              <a:buFont typeface="System Font Regular"/>
              <a:buChar char="–"/>
              <a:tabLst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291307" indent="-284163">
              <a:lnSpc>
                <a:spcPts val="1900"/>
              </a:lnSpc>
              <a:buFont typeface="+mj-lt"/>
              <a:buAutoNum type="arabicPeriod"/>
              <a:tabLst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537369" indent="-246063">
              <a:lnSpc>
                <a:spcPts val="1900"/>
              </a:lnSpc>
              <a:buFont typeface="System Font Regular"/>
              <a:buChar char="–"/>
              <a:tabLst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537369" indent="0">
              <a:lnSpc>
                <a:spcPts val="1900"/>
              </a:lnSpc>
              <a:buNone/>
              <a:tabLst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F40BEB9-6744-E54B-B66D-EA691454C8A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78163" y="6463703"/>
            <a:ext cx="1243881" cy="133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541558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Image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F9902292-52BF-8142-94C1-BBF62D6DFACC}"/>
              </a:ext>
            </a:extLst>
          </p:cNvPr>
          <p:cNvSpPr txBox="1"/>
          <p:nvPr userDrawn="1"/>
        </p:nvSpPr>
        <p:spPr>
          <a:xfrm>
            <a:off x="550899" y="6491809"/>
            <a:ext cx="25310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fld id="{334DA5DD-9C8C-6E48-9733-9F5D468F39D5}" type="slidenum">
              <a:rPr lang="en-DE"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DE" sz="9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158E6C7-66E4-534E-800A-28B0FEBBE9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6670" y="518502"/>
            <a:ext cx="11076174" cy="331917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Headline</a:t>
            </a:r>
            <a:endParaRPr lang="en-DE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6F8A420-9BCE-8C46-BC7F-3B96CD46773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6670" y="899735"/>
            <a:ext cx="11076174" cy="49435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10000"/>
              </a:lnSpc>
              <a:buFontTx/>
              <a:buNone/>
              <a:defRPr sz="15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28600" indent="0">
              <a:buFontTx/>
              <a:buNone/>
              <a:defRPr sz="15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57200" indent="0">
              <a:buFontTx/>
              <a:buNone/>
              <a:defRPr sz="15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685800" indent="0">
              <a:buFontTx/>
              <a:buNone/>
              <a:defRPr sz="15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14400" indent="0">
              <a:buFontTx/>
              <a:buNone/>
              <a:defRPr sz="15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headline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9AE965D5-55BA-B740-B728-3E8D520BD1D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DE">
                <a:latin typeface="Arial" panose="020B0604020202020204" pitchFamily="34" charset="0"/>
                <a:cs typeface="Arial" panose="020B0604020202020204" pitchFamily="34" charset="0"/>
              </a:rPr>
              <a:t>For internal us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CEB0E1E-FE31-0042-90E3-E1F94B78879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46670" y="1581150"/>
            <a:ext cx="3524629" cy="19872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lIns="0" tIns="0" rIns="0" bIns="0"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E"/>
          </a:p>
        </p:txBody>
      </p:sp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0F434A6C-7772-994C-B5DC-43862161095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333685" y="1581150"/>
            <a:ext cx="3524629" cy="19872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lIns="0" tIns="0" rIns="0" bIns="0"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E"/>
          </a:p>
        </p:txBody>
      </p:sp>
      <p:sp>
        <p:nvSpPr>
          <p:cNvPr id="13" name="Content Placeholder 4">
            <a:extLst>
              <a:ext uri="{FF2B5EF4-FFF2-40B4-BE49-F238E27FC236}">
                <a16:creationId xmlns:a16="http://schemas.microsoft.com/office/drawing/2014/main" id="{3D3604EA-2D88-4148-9033-6D7EA5F7F1C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098215" y="1581150"/>
            <a:ext cx="3524629" cy="19872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lIns="0" tIns="0" rIns="0" bIns="0"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E"/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1C3BD456-BA3C-2540-BE20-D8C1F7A528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46670" y="3814685"/>
            <a:ext cx="3524629" cy="19872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lIns="0" tIns="0" rIns="0" bIns="0"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E"/>
          </a:p>
        </p:txBody>
      </p:sp>
      <p:sp>
        <p:nvSpPr>
          <p:cNvPr id="15" name="Content Placeholder 4">
            <a:extLst>
              <a:ext uri="{FF2B5EF4-FFF2-40B4-BE49-F238E27FC236}">
                <a16:creationId xmlns:a16="http://schemas.microsoft.com/office/drawing/2014/main" id="{2538D398-D329-FE42-B5BB-9B1AE3A13432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33685" y="3814685"/>
            <a:ext cx="3524629" cy="19872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lIns="0" tIns="0" rIns="0" bIns="0"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E"/>
          </a:p>
        </p:txBody>
      </p:sp>
      <p:sp>
        <p:nvSpPr>
          <p:cNvPr id="18" name="Content Placeholder 4">
            <a:extLst>
              <a:ext uri="{FF2B5EF4-FFF2-40B4-BE49-F238E27FC236}">
                <a16:creationId xmlns:a16="http://schemas.microsoft.com/office/drawing/2014/main" id="{F9C66B38-569A-BD4E-9876-FB9B6A525E37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98215" y="3814685"/>
            <a:ext cx="3524629" cy="19872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lIns="0" tIns="0" rIns="0" bIns="0"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E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78E9531E-28AC-AB4A-9ABD-873A78FF914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78163" y="6463703"/>
            <a:ext cx="1243881" cy="133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297297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mages + 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F9902292-52BF-8142-94C1-BBF62D6DFACC}"/>
              </a:ext>
            </a:extLst>
          </p:cNvPr>
          <p:cNvSpPr txBox="1"/>
          <p:nvPr userDrawn="1"/>
        </p:nvSpPr>
        <p:spPr>
          <a:xfrm>
            <a:off x="550899" y="6491809"/>
            <a:ext cx="25310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fld id="{334DA5DD-9C8C-6E48-9733-9F5D468F39D5}" type="slidenum">
              <a:rPr lang="en-DE"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DE" sz="9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158E6C7-66E4-534E-800A-28B0FEBBE9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6670" y="518502"/>
            <a:ext cx="11076174" cy="331917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Headline</a:t>
            </a:r>
            <a:endParaRPr lang="en-DE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6F8A420-9BCE-8C46-BC7F-3B96CD46773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6670" y="899735"/>
            <a:ext cx="11076174" cy="49435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10000"/>
              </a:lnSpc>
              <a:buFontTx/>
              <a:buNone/>
              <a:defRPr sz="15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28600" indent="0">
              <a:buFontTx/>
              <a:buNone/>
              <a:defRPr sz="15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57200" indent="0">
              <a:buFontTx/>
              <a:buNone/>
              <a:defRPr sz="15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685800" indent="0">
              <a:buFontTx/>
              <a:buNone/>
              <a:defRPr sz="15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14400" indent="0">
              <a:buFontTx/>
              <a:buNone/>
              <a:defRPr sz="15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head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8FBB059-B301-164C-9710-E7E222FD1B0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22487" y="1588675"/>
            <a:ext cx="4055676" cy="198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900"/>
              </a:lnSpc>
              <a:buNone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91307" indent="-284163">
              <a:lnSpc>
                <a:spcPts val="1900"/>
              </a:lnSpc>
              <a:buClrTx/>
              <a:buFont typeface="System Font Regular"/>
              <a:buChar char="–"/>
              <a:tabLst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291307" indent="-284163">
              <a:lnSpc>
                <a:spcPts val="1900"/>
              </a:lnSpc>
              <a:buFont typeface="+mj-lt"/>
              <a:buAutoNum type="arabicPeriod"/>
              <a:tabLst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537369" indent="-246063">
              <a:lnSpc>
                <a:spcPts val="1900"/>
              </a:lnSpc>
              <a:buFont typeface="System Font Regular"/>
              <a:buChar char="–"/>
              <a:tabLst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537369" indent="0">
              <a:lnSpc>
                <a:spcPts val="1900"/>
              </a:lnSpc>
              <a:buNone/>
              <a:tabLst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9AE965D5-55BA-B740-B728-3E8D520BD1D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DE">
                <a:latin typeface="Arial" panose="020B0604020202020204" pitchFamily="34" charset="0"/>
                <a:cs typeface="Arial" panose="020B0604020202020204" pitchFamily="34" charset="0"/>
              </a:rPr>
              <a:t>For internal us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CEB0E1E-FE31-0042-90E3-E1F94B78879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46670" y="1581150"/>
            <a:ext cx="5549330" cy="19872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lIns="0" tIns="0" rIns="0" bIns="0"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E"/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EC1888DC-3C4B-DE49-95CA-AC5B0D17EDA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22487" y="3814200"/>
            <a:ext cx="4055676" cy="198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900"/>
              </a:lnSpc>
              <a:buNone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91307" indent="-284163">
              <a:lnSpc>
                <a:spcPts val="1900"/>
              </a:lnSpc>
              <a:buClrTx/>
              <a:buFont typeface="System Font Regular"/>
              <a:buChar char="–"/>
              <a:tabLst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291307" indent="-284163">
              <a:lnSpc>
                <a:spcPts val="1900"/>
              </a:lnSpc>
              <a:buFont typeface="+mj-lt"/>
              <a:buAutoNum type="arabicPeriod"/>
              <a:tabLst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537369" indent="-246063">
              <a:lnSpc>
                <a:spcPts val="1900"/>
              </a:lnSpc>
              <a:buFont typeface="System Font Regular"/>
              <a:buChar char="–"/>
              <a:tabLst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537369" indent="0">
              <a:lnSpc>
                <a:spcPts val="1900"/>
              </a:lnSpc>
              <a:buNone/>
              <a:tabLst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Content Placeholder 4">
            <a:extLst>
              <a:ext uri="{FF2B5EF4-FFF2-40B4-BE49-F238E27FC236}">
                <a16:creationId xmlns:a16="http://schemas.microsoft.com/office/drawing/2014/main" id="{88AA0869-EF69-794A-916D-0E50F5FA532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6670" y="3814200"/>
            <a:ext cx="5549330" cy="19872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lIns="0" tIns="0" rIns="0" bIns="0"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E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1149B15-AFE4-6246-B668-1921CCDD48D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78163" y="6463703"/>
            <a:ext cx="1243881" cy="133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309549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Image + 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F9902292-52BF-8142-94C1-BBF62D6DFACC}"/>
              </a:ext>
            </a:extLst>
          </p:cNvPr>
          <p:cNvSpPr txBox="1"/>
          <p:nvPr userDrawn="1"/>
        </p:nvSpPr>
        <p:spPr>
          <a:xfrm>
            <a:off x="550899" y="6491809"/>
            <a:ext cx="25310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fld id="{334DA5DD-9C8C-6E48-9733-9F5D468F39D5}" type="slidenum">
              <a:rPr lang="en-DE"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DE" sz="9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158E6C7-66E4-534E-800A-28B0FEBBE9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6670" y="518502"/>
            <a:ext cx="11076174" cy="331917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Headline</a:t>
            </a:r>
            <a:endParaRPr lang="en-DE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6F8A420-9BCE-8C46-BC7F-3B96CD46773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6670" y="899735"/>
            <a:ext cx="11076174" cy="49435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10000"/>
              </a:lnSpc>
              <a:buFontTx/>
              <a:buNone/>
              <a:defRPr sz="15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28600" indent="0">
              <a:buFontTx/>
              <a:buNone/>
              <a:defRPr sz="15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57200" indent="0">
              <a:buFontTx/>
              <a:buNone/>
              <a:defRPr sz="15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685800" indent="0">
              <a:buFontTx/>
              <a:buNone/>
              <a:defRPr sz="15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14400" indent="0">
              <a:buFontTx/>
              <a:buNone/>
              <a:defRPr sz="15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head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8FBB059-B301-164C-9710-E7E222FD1B0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22487" y="1588674"/>
            <a:ext cx="4055676" cy="47025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900"/>
              </a:lnSpc>
              <a:buNone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91307" indent="-284163">
              <a:lnSpc>
                <a:spcPts val="1900"/>
              </a:lnSpc>
              <a:buClrTx/>
              <a:buFont typeface="System Font Regular"/>
              <a:buChar char="–"/>
              <a:tabLst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291307" indent="-284163">
              <a:lnSpc>
                <a:spcPts val="1900"/>
              </a:lnSpc>
              <a:buFont typeface="+mj-lt"/>
              <a:buAutoNum type="arabicPeriod"/>
              <a:tabLst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537369" indent="-246063">
              <a:lnSpc>
                <a:spcPts val="1900"/>
              </a:lnSpc>
              <a:buFont typeface="System Font Regular"/>
              <a:buChar char="–"/>
              <a:tabLst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537369" indent="0">
              <a:lnSpc>
                <a:spcPts val="1900"/>
              </a:lnSpc>
              <a:buNone/>
              <a:tabLst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9AE965D5-55BA-B740-B728-3E8D520BD1D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DE">
                <a:latin typeface="Arial" panose="020B0604020202020204" pitchFamily="34" charset="0"/>
                <a:cs typeface="Arial" panose="020B0604020202020204" pitchFamily="34" charset="0"/>
              </a:rPr>
              <a:t>For internal us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CEB0E1E-FE31-0042-90E3-E1F94B78879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46670" y="1581149"/>
            <a:ext cx="5549330" cy="471011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lIns="0" tIns="0" rIns="0" bIns="0"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E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CD6644F-D681-AB47-BED1-F5DED8E51AF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78163" y="6463703"/>
            <a:ext cx="1243881" cy="133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159008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Imag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F9902292-52BF-8142-94C1-BBF62D6DFACC}"/>
              </a:ext>
            </a:extLst>
          </p:cNvPr>
          <p:cNvSpPr txBox="1"/>
          <p:nvPr userDrawn="1"/>
        </p:nvSpPr>
        <p:spPr>
          <a:xfrm>
            <a:off x="550899" y="6491809"/>
            <a:ext cx="25310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fld id="{334DA5DD-9C8C-6E48-9733-9F5D468F39D5}" type="slidenum">
              <a:rPr lang="en-DE"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DE" sz="9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158E6C7-66E4-534E-800A-28B0FEBBE9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6670" y="518502"/>
            <a:ext cx="11076174" cy="331917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Headline</a:t>
            </a:r>
            <a:endParaRPr lang="en-DE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6F8A420-9BCE-8C46-BC7F-3B96CD46773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6670" y="899735"/>
            <a:ext cx="11076174" cy="49435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10000"/>
              </a:lnSpc>
              <a:buFontTx/>
              <a:buNone/>
              <a:defRPr sz="15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28600" indent="0">
              <a:buFontTx/>
              <a:buNone/>
              <a:defRPr sz="15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57200" indent="0">
              <a:buFontTx/>
              <a:buNone/>
              <a:defRPr sz="15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685800" indent="0">
              <a:buFontTx/>
              <a:buNone/>
              <a:defRPr sz="15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14400" indent="0">
              <a:buFontTx/>
              <a:buNone/>
              <a:defRPr sz="15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headline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9AE965D5-55BA-B740-B728-3E8D520BD1D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DE">
                <a:latin typeface="Arial" panose="020B0604020202020204" pitchFamily="34" charset="0"/>
                <a:cs typeface="Arial" panose="020B0604020202020204" pitchFamily="34" charset="0"/>
              </a:rPr>
              <a:t>For internal us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CEB0E1E-FE31-0042-90E3-E1F94B78879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46670" y="1581149"/>
            <a:ext cx="11076174" cy="471011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lIns="0" tIns="0" rIns="0" bIns="0"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E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868299E-D360-054D-AD6D-C84318B956E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78163" y="6463703"/>
            <a:ext cx="1243881" cy="133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850181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Imag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CEB0E1E-FE31-0042-90E3-E1F94B78879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lIns="0" tIns="0" rIns="0" bIns="0"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9902292-52BF-8142-94C1-BBF62D6DFACC}"/>
              </a:ext>
            </a:extLst>
          </p:cNvPr>
          <p:cNvSpPr txBox="1"/>
          <p:nvPr userDrawn="1"/>
        </p:nvSpPr>
        <p:spPr>
          <a:xfrm>
            <a:off x="550899" y="6491809"/>
            <a:ext cx="25310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fld id="{334DA5DD-9C8C-6E48-9733-9F5D468F39D5}" type="slidenum">
              <a:rPr lang="en-DE"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DE" sz="9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158E6C7-66E4-534E-800A-28B0FEBBE9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6670" y="518502"/>
            <a:ext cx="11076174" cy="331917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Headline</a:t>
            </a:r>
            <a:endParaRPr lang="en-DE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6F8A420-9BCE-8C46-BC7F-3B96CD46773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6670" y="899735"/>
            <a:ext cx="11076174" cy="49435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10000"/>
              </a:lnSpc>
              <a:buFontTx/>
              <a:buNone/>
              <a:defRPr sz="1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28600" indent="0">
              <a:buFontTx/>
              <a:buNone/>
              <a:defRPr sz="15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57200" indent="0">
              <a:buFontTx/>
              <a:buNone/>
              <a:defRPr sz="15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685800" indent="0">
              <a:buFontTx/>
              <a:buNone/>
              <a:defRPr sz="15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14400" indent="0">
              <a:buFontTx/>
              <a:buNone/>
              <a:defRPr sz="15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headline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9AE965D5-55BA-B740-B728-3E8D520BD1D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DE">
                <a:latin typeface="Arial" panose="020B0604020202020204" pitchFamily="34" charset="0"/>
                <a:cs typeface="Arial" panose="020B0604020202020204" pitchFamily="34" charset="0"/>
              </a:rPr>
              <a:t>For internal us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E9177DE-A55D-B849-BC10-D89201D1891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78163" y="6462896"/>
            <a:ext cx="1244681" cy="133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246346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-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A50A9316-FDB6-9443-BCC9-6BD24C009C4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9"/>
            <a:ext cx="12192000" cy="6856781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2158E6C7-66E4-534E-800A-28B0FEBBE9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6670" y="2660673"/>
            <a:ext cx="11076174" cy="1534988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4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Thank you</a:t>
            </a:r>
            <a:endParaRPr lang="en-DE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140C47D-4A64-3543-A883-AE7900989A30}"/>
              </a:ext>
            </a:extLst>
          </p:cNvPr>
          <p:cNvSpPr txBox="1"/>
          <p:nvPr userDrawn="1"/>
        </p:nvSpPr>
        <p:spPr>
          <a:xfrm>
            <a:off x="546670" y="505626"/>
            <a:ext cx="2668423" cy="2769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DE" sz="15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nsing is lif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E25259D-A1CB-6B4D-91FB-10DD45BB242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414395" y="548482"/>
            <a:ext cx="2215944" cy="238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534329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-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1D40D0E3-FC4E-7243-9F92-A0E5101BB0A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9"/>
            <a:ext cx="12192000" cy="6856781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9902292-52BF-8142-94C1-BBF62D6DFACC}"/>
              </a:ext>
            </a:extLst>
          </p:cNvPr>
          <p:cNvSpPr txBox="1"/>
          <p:nvPr userDrawn="1"/>
        </p:nvSpPr>
        <p:spPr>
          <a:xfrm>
            <a:off x="550899" y="6491809"/>
            <a:ext cx="25310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fld id="{334DA5DD-9C8C-6E48-9733-9F5D468F39D5}" type="slidenum">
              <a:rPr lang="en-DE"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DE" sz="9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0B86B9C-0D18-E445-996A-4290B08C00A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414045" y="548820"/>
            <a:ext cx="2216294" cy="2413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F140C47D-4A64-3543-A883-AE7900989A30}"/>
              </a:ext>
            </a:extLst>
          </p:cNvPr>
          <p:cNvSpPr txBox="1"/>
          <p:nvPr userDrawn="1"/>
        </p:nvSpPr>
        <p:spPr>
          <a:xfrm>
            <a:off x="546670" y="505626"/>
            <a:ext cx="2668423" cy="2769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DE" sz="15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nsing is life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DB43461-3981-024A-84A6-ACE035F57A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DE">
                <a:latin typeface="Arial" panose="020B0604020202020204" pitchFamily="34" charset="0"/>
                <a:cs typeface="Arial" panose="020B0604020202020204" pitchFamily="34" charset="0"/>
              </a:rPr>
              <a:t>For internal use</a:t>
            </a:r>
          </a:p>
        </p:txBody>
      </p:sp>
      <p:sp>
        <p:nvSpPr>
          <p:cNvPr id="9" name="Text Placeholder 17">
            <a:extLst>
              <a:ext uri="{FF2B5EF4-FFF2-40B4-BE49-F238E27FC236}">
                <a16:creationId xmlns:a16="http://schemas.microsoft.com/office/drawing/2014/main" id="{2DFB8C06-F278-9C40-8409-C86803BF28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50899" y="4773702"/>
            <a:ext cx="10167806" cy="130621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ts val="1850"/>
              </a:lnSpc>
              <a:spcBef>
                <a:spcPts val="0"/>
              </a:spcBef>
              <a:buNone/>
              <a:defRPr sz="15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500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500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500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Name Surname, Department/Title, Legal Entity</a:t>
            </a:r>
          </a:p>
        </p:txBody>
      </p:sp>
      <p:sp>
        <p:nvSpPr>
          <p:cNvPr id="11" name="Text Placeholder 17">
            <a:extLst>
              <a:ext uri="{FF2B5EF4-FFF2-40B4-BE49-F238E27FC236}">
                <a16:creationId xmlns:a16="http://schemas.microsoft.com/office/drawing/2014/main" id="{7FAF3A4B-5CB9-654B-A4F3-85472D175D4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99" y="6069227"/>
            <a:ext cx="10167806" cy="250536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ts val="1850"/>
              </a:lnSpc>
              <a:spcBef>
                <a:spcPts val="0"/>
              </a:spcBef>
              <a:buNone/>
              <a:defRPr sz="15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500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500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500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D/MM/YYY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92BE0CA2-2FD3-A345-ABD4-F1C2F387C8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6670" y="2008428"/>
            <a:ext cx="11076174" cy="1534988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 sz="4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Headline</a:t>
            </a:r>
            <a:endParaRPr lang="en-DE"/>
          </a:p>
        </p:txBody>
      </p:sp>
      <p:sp>
        <p:nvSpPr>
          <p:cNvPr id="13" name="Text Placeholder 17">
            <a:extLst>
              <a:ext uri="{FF2B5EF4-FFF2-40B4-BE49-F238E27FC236}">
                <a16:creationId xmlns:a16="http://schemas.microsoft.com/office/drawing/2014/main" id="{DB6D17A0-C0EB-1547-AC85-2348361F1AE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99" y="3600000"/>
            <a:ext cx="10167806" cy="64671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ts val="1850"/>
              </a:lnSpc>
              <a:spcBef>
                <a:spcPts val="0"/>
              </a:spcBef>
              <a:buNone/>
              <a:defRPr sz="15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500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500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500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headline</a:t>
            </a:r>
          </a:p>
        </p:txBody>
      </p:sp>
    </p:spTree>
    <p:extLst>
      <p:ext uri="{BB962C8B-B14F-4D97-AF65-F5344CB8AC3E}">
        <p14:creationId xmlns:p14="http://schemas.microsoft.com/office/powerpoint/2010/main" val="9496753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-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9D55630C-AFE9-4046-A11D-2292CF099D6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9"/>
            <a:ext cx="12192000" cy="6856781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2158E6C7-66E4-534E-800A-28B0FEBBE9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6670" y="2660673"/>
            <a:ext cx="11076174" cy="1534988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4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Thank you</a:t>
            </a:r>
            <a:endParaRPr lang="en-DE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0B86B9C-0D18-E445-996A-4290B08C00A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414045" y="548820"/>
            <a:ext cx="2216294" cy="2413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F140C47D-4A64-3543-A883-AE7900989A30}"/>
              </a:ext>
            </a:extLst>
          </p:cNvPr>
          <p:cNvSpPr txBox="1"/>
          <p:nvPr userDrawn="1"/>
        </p:nvSpPr>
        <p:spPr>
          <a:xfrm>
            <a:off x="546670" y="505626"/>
            <a:ext cx="2668423" cy="2769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DE" sz="15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nsing is life</a:t>
            </a:r>
          </a:p>
        </p:txBody>
      </p:sp>
    </p:spTree>
    <p:extLst>
      <p:ext uri="{BB962C8B-B14F-4D97-AF65-F5344CB8AC3E}">
        <p14:creationId xmlns:p14="http://schemas.microsoft.com/office/powerpoint/2010/main" val="91640167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-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11AB1211-A8DC-B249-908D-F453D370A62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9"/>
            <a:ext cx="12192000" cy="6856781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2158E6C7-66E4-534E-800A-28B0FEBBE9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6670" y="2660673"/>
            <a:ext cx="11076174" cy="1534988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4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Thank you</a:t>
            </a:r>
            <a:endParaRPr lang="en-DE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140C47D-4A64-3543-A883-AE7900989A30}"/>
              </a:ext>
            </a:extLst>
          </p:cNvPr>
          <p:cNvSpPr txBox="1"/>
          <p:nvPr userDrawn="1"/>
        </p:nvSpPr>
        <p:spPr>
          <a:xfrm>
            <a:off x="546670" y="505626"/>
            <a:ext cx="2668423" cy="2769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DE" sz="15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nsing is lif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6BFBDD8-1FA7-8C4A-ADFC-E5CEEA7FD31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414045" y="547470"/>
            <a:ext cx="2216294" cy="237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20318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-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2DAEE96B-7B7A-444A-978C-39B473B96E0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9"/>
            <a:ext cx="12192000" cy="6856781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F140C47D-4A64-3543-A883-AE7900989A30}"/>
              </a:ext>
            </a:extLst>
          </p:cNvPr>
          <p:cNvSpPr txBox="1"/>
          <p:nvPr userDrawn="1"/>
        </p:nvSpPr>
        <p:spPr>
          <a:xfrm>
            <a:off x="546670" y="505626"/>
            <a:ext cx="2668423" cy="2769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DE" sz="15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nsing is lif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E5387B2-62E2-F841-B281-F198AB40F1B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000173" y="3094792"/>
            <a:ext cx="6191653" cy="666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019094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-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3DF143B2-1E06-A34C-8018-FABA0F5E26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9"/>
            <a:ext cx="12192000" cy="6856781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F140C47D-4A64-3543-A883-AE7900989A30}"/>
              </a:ext>
            </a:extLst>
          </p:cNvPr>
          <p:cNvSpPr txBox="1"/>
          <p:nvPr userDrawn="1"/>
        </p:nvSpPr>
        <p:spPr>
          <a:xfrm>
            <a:off x="546670" y="505626"/>
            <a:ext cx="2668423" cy="2769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DE" sz="15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nsing is lif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1FB5361-E920-7949-ADF5-4F47AD68DF8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000173" y="3094792"/>
            <a:ext cx="6191653" cy="666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42676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-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AABE0A7-3D74-144A-9E29-F5BA9EE205D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9"/>
            <a:ext cx="12192000" cy="6856781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F140C47D-4A64-3543-A883-AE7900989A30}"/>
              </a:ext>
            </a:extLst>
          </p:cNvPr>
          <p:cNvSpPr txBox="1"/>
          <p:nvPr userDrawn="1"/>
        </p:nvSpPr>
        <p:spPr>
          <a:xfrm>
            <a:off x="546670" y="505626"/>
            <a:ext cx="2668423" cy="2769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DE" sz="15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nsing is lif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732A5B4-2098-A74A-8AD3-6DBA5363923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000173" y="3095625"/>
            <a:ext cx="6191653" cy="666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395279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eadline"/>
          <p:cNvSpPr>
            <a:spLocks noGrp="1"/>
          </p:cNvSpPr>
          <p:nvPr>
            <p:ph type="title" hasCustomPrompt="1"/>
          </p:nvPr>
        </p:nvSpPr>
        <p:spPr>
          <a:xfrm>
            <a:off x="0" y="1772816"/>
            <a:ext cx="12192000" cy="525115"/>
          </a:xfrm>
          <a:prstGeom prst="rect">
            <a:avLst/>
          </a:prstGeom>
        </p:spPr>
        <p:txBody>
          <a:bodyPr lIns="0"/>
          <a:lstStyle>
            <a:lvl1pPr algn="ctr">
              <a:defRPr sz="33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ubline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2338827"/>
            <a:ext cx="12192000" cy="292805"/>
          </a:xfrm>
          <a:prstGeom prst="rect">
            <a:avLst/>
          </a:prstGeom>
        </p:spPr>
        <p:txBody>
          <a:bodyPr lIns="0" tIns="0"/>
          <a:lstStyle>
            <a:lvl1pPr algn="ctr">
              <a:defRPr sz="1800" b="1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add subline</a:t>
            </a:r>
          </a:p>
        </p:txBody>
      </p:sp>
      <p:sp>
        <p:nvSpPr>
          <p:cNvPr id="10" name="Bodytext"/>
          <p:cNvSpPr>
            <a:spLocks noGrp="1"/>
          </p:cNvSpPr>
          <p:nvPr>
            <p:ph type="body" sz="quarter" idx="13" hasCustomPrompt="1"/>
          </p:nvPr>
        </p:nvSpPr>
        <p:spPr>
          <a:xfrm>
            <a:off x="3792000" y="3427200"/>
            <a:ext cx="4608000" cy="2092881"/>
          </a:xfrm>
        </p:spPr>
        <p:txBody>
          <a:bodyPr lIns="90000">
            <a:spAutoFit/>
          </a:bodyPr>
          <a:lstStyle>
            <a:lvl1pPr algn="ctr">
              <a:spcBef>
                <a:spcPts val="0"/>
              </a:spcBef>
              <a:spcAft>
                <a:spcPts val="1200"/>
              </a:spcAft>
              <a:defRPr sz="1800">
                <a:solidFill>
                  <a:schemeClr val="bg2">
                    <a:lumMod val="90000"/>
                  </a:schemeClr>
                </a:solidFill>
              </a:defRPr>
            </a:lvl1pPr>
            <a:lvl2pPr marL="0" indent="0" algn="ctr">
              <a:spcBef>
                <a:spcPts val="0"/>
              </a:spcBef>
              <a:spcAft>
                <a:spcPts val="1200"/>
              </a:spcAft>
              <a:buFontTx/>
              <a:buNone/>
              <a:defRPr sz="1800">
                <a:solidFill>
                  <a:schemeClr val="tx2"/>
                </a:solidFill>
              </a:defRPr>
            </a:lvl2pPr>
          </a:lstStyle>
          <a:p>
            <a:pPr lvl="1"/>
            <a:r>
              <a:rPr lang="en-US" dirty="0"/>
              <a:t>Topic #1</a:t>
            </a:r>
          </a:p>
          <a:p>
            <a:pPr lvl="1"/>
            <a:r>
              <a:rPr lang="en-US" dirty="0"/>
              <a:t>Topic #2</a:t>
            </a:r>
          </a:p>
          <a:p>
            <a:pPr lvl="1"/>
            <a:r>
              <a:rPr lang="en-US" dirty="0"/>
              <a:t>Topic #3</a:t>
            </a:r>
          </a:p>
          <a:p>
            <a:pPr lvl="1"/>
            <a:r>
              <a:rPr lang="en-US" dirty="0"/>
              <a:t>Topic #4</a:t>
            </a:r>
          </a:p>
          <a:p>
            <a:pPr lvl="1"/>
            <a:r>
              <a:rPr lang="en-US" dirty="0"/>
              <a:t>Topic #5</a:t>
            </a:r>
          </a:p>
        </p:txBody>
      </p:sp>
    </p:spTree>
    <p:extLst>
      <p:ext uri="{BB962C8B-B14F-4D97-AF65-F5344CB8AC3E}">
        <p14:creationId xmlns:p14="http://schemas.microsoft.com/office/powerpoint/2010/main" val="194087657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8159552" cy="68580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8759825" y="1628775"/>
            <a:ext cx="2841625" cy="3890963"/>
          </a:xfrm>
          <a:prstGeom prst="rect">
            <a:avLst/>
          </a:prstGeom>
        </p:spPr>
        <p:txBody>
          <a:bodyPr anchor="ctr"/>
          <a:lstStyle>
            <a:lvl1pPr algn="ctr"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en-US" dirty="0"/>
              <a:t>Add a chapter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 sz="800" b="1" noProof="1">
                <a:solidFill>
                  <a:srgbClr val="ACB2B7"/>
                </a:solidFill>
                <a:cs typeface="Arial" panose="020B0604020202020204" pitchFamily="34" charset="0"/>
              </a:rPr>
              <a:t>Confidential © ams AG</a:t>
            </a:r>
          </a:p>
          <a:p>
            <a:pPr>
              <a:defRPr/>
            </a:pPr>
            <a:r>
              <a:rPr lang="en-US" sz="800" b="1" noProof="1">
                <a:solidFill>
                  <a:srgbClr val="ACB2B7"/>
                </a:solidFill>
                <a:cs typeface="Arial" panose="020B0604020202020204" pitchFamily="34" charset="0"/>
              </a:rPr>
              <a:t>Page </a:t>
            </a:r>
            <a:fld id="{2FD01DF8-2F0B-4C07-A807-531352C2D77F}" type="slidenum">
              <a:rPr lang="en-US" sz="800" b="1" noProof="1" smtClean="0">
                <a:solidFill>
                  <a:srgbClr val="ACB2B7"/>
                </a:solidFill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US" sz="800" noProof="1">
              <a:solidFill>
                <a:srgbClr val="4655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380727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line"/>
          <p:cNvSpPr>
            <a:spLocks noGrp="1"/>
          </p:cNvSpPr>
          <p:nvPr>
            <p:ph type="body" sz="quarter" idx="11" hasCustomPrompt="1"/>
          </p:nvPr>
        </p:nvSpPr>
        <p:spPr>
          <a:xfrm>
            <a:off x="576263" y="942751"/>
            <a:ext cx="9336162" cy="322085"/>
          </a:xfrm>
          <a:prstGeom prst="rect">
            <a:avLst/>
          </a:prstGeom>
        </p:spPr>
        <p:txBody>
          <a:bodyPr lIns="0" tIns="0"/>
          <a:lstStyle>
            <a:lvl1pPr>
              <a:defRPr sz="1800" b="1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add subline</a:t>
            </a:r>
          </a:p>
        </p:txBody>
      </p:sp>
      <p:sp>
        <p:nvSpPr>
          <p:cNvPr id="8" name="Headlin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r>
              <a:rPr lang="en-US" sz="800" b="1" noProof="1">
                <a:solidFill>
                  <a:srgbClr val="ACB2B7"/>
                </a:solidFill>
                <a:cs typeface="Arial" panose="020B0604020202020204" pitchFamily="34" charset="0"/>
              </a:rPr>
              <a:t>Confidential © ams AG</a:t>
            </a:r>
          </a:p>
          <a:p>
            <a:pPr>
              <a:defRPr/>
            </a:pPr>
            <a:r>
              <a:rPr lang="en-US" sz="800" b="1" noProof="1">
                <a:solidFill>
                  <a:srgbClr val="ACB2B7"/>
                </a:solidFill>
                <a:cs typeface="Arial" panose="020B0604020202020204" pitchFamily="34" charset="0"/>
              </a:rPr>
              <a:t>Page </a:t>
            </a:r>
            <a:fld id="{2FD01DF8-2F0B-4C07-A807-531352C2D77F}" type="slidenum">
              <a:rPr lang="en-US" sz="800" b="1" noProof="1" smtClean="0">
                <a:solidFill>
                  <a:srgbClr val="ACB2B7"/>
                </a:solidFill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US" sz="800" noProof="1">
              <a:solidFill>
                <a:srgbClr val="46555F"/>
              </a:solidFill>
            </a:endParaRPr>
          </a:p>
        </p:txBody>
      </p:sp>
      <p:sp>
        <p:nvSpPr>
          <p:cNvPr id="3" name="Bodytext"/>
          <p:cNvSpPr>
            <a:spLocks noGrp="1"/>
          </p:cNvSpPr>
          <p:nvPr>
            <p:ph sz="quarter" idx="14" hasCustomPrompt="1"/>
          </p:nvPr>
        </p:nvSpPr>
        <p:spPr>
          <a:xfrm>
            <a:off x="576263" y="1555200"/>
            <a:ext cx="11026800" cy="4824000"/>
          </a:xfrm>
        </p:spPr>
        <p:txBody>
          <a:bodyPr/>
          <a:lstStyle>
            <a:lvl2pPr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7207366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 /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odytext"/>
          <p:cNvSpPr>
            <a:spLocks noGrp="1"/>
          </p:cNvSpPr>
          <p:nvPr>
            <p:ph type="body" sz="quarter" idx="13" hasCustomPrompt="1"/>
          </p:nvPr>
        </p:nvSpPr>
        <p:spPr>
          <a:xfrm>
            <a:off x="3215680" y="1557338"/>
            <a:ext cx="8400058" cy="2375718"/>
          </a:xfrm>
          <a:prstGeom prst="rect">
            <a:avLst/>
          </a:prstGeom>
          <a:noFill/>
        </p:spPr>
        <p:txBody>
          <a:bodyPr lIns="0"/>
          <a:lstStyle>
            <a:lvl1pPr>
              <a:defRPr sz="1600">
                <a:latin typeface="+mn-lt"/>
              </a:defRPr>
            </a:lvl1pPr>
            <a:lvl2pPr>
              <a:defRPr sz="1600">
                <a:latin typeface="+mn-lt"/>
              </a:defRPr>
            </a:lvl2pPr>
            <a:lvl3pPr>
              <a:defRPr sz="1600">
                <a:latin typeface="+mn-lt"/>
              </a:defRPr>
            </a:lvl3pPr>
            <a:lvl4pPr>
              <a:defRPr sz="1600">
                <a:latin typeface="+mn-lt"/>
              </a:defRPr>
            </a:lvl4pPr>
            <a:lvl5pPr>
              <a:spcBef>
                <a:spcPts val="360"/>
              </a:spcBef>
              <a:defRPr sz="1600">
                <a:latin typeface="+mn-lt"/>
              </a:defRPr>
            </a:lvl5pPr>
            <a:lvl6pPr>
              <a:defRPr>
                <a:latin typeface="+mn-lt"/>
              </a:defRPr>
            </a:lvl6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5" hasCustomPrompt="1"/>
          </p:nvPr>
        </p:nvSpPr>
        <p:spPr>
          <a:xfrm>
            <a:off x="576262" y="1557338"/>
            <a:ext cx="2519362" cy="237621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3215680" y="4006032"/>
            <a:ext cx="8400058" cy="2375718"/>
          </a:xfrm>
          <a:prstGeom prst="rect">
            <a:avLst/>
          </a:prstGeom>
          <a:noFill/>
        </p:spPr>
        <p:txBody>
          <a:bodyPr lIns="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spcBef>
                <a:spcPts val="360"/>
              </a:spcBef>
              <a:defRPr sz="1600"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9" name="Picture Placeholder 16"/>
          <p:cNvSpPr>
            <a:spLocks noGrp="1"/>
          </p:cNvSpPr>
          <p:nvPr>
            <p:ph type="pic" sz="quarter" idx="17" hasCustomPrompt="1"/>
          </p:nvPr>
        </p:nvSpPr>
        <p:spPr>
          <a:xfrm>
            <a:off x="576262" y="4006032"/>
            <a:ext cx="2519362" cy="237621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12" name="Headline"/>
          <p:cNvSpPr>
            <a:spLocks noGrp="1"/>
          </p:cNvSpPr>
          <p:nvPr>
            <p:ph type="title" hasCustomPrompt="1"/>
          </p:nvPr>
        </p:nvSpPr>
        <p:spPr>
          <a:xfrm>
            <a:off x="576262" y="365125"/>
            <a:ext cx="9336162" cy="577627"/>
          </a:xfrm>
          <a:prstGeom prst="rect">
            <a:avLst/>
          </a:prstGeom>
        </p:spPr>
        <p:txBody>
          <a:bodyPr lIns="0"/>
          <a:lstStyle>
            <a:lvl1pPr>
              <a:defRPr sz="33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Subline"/>
          <p:cNvSpPr>
            <a:spLocks noGrp="1"/>
          </p:cNvSpPr>
          <p:nvPr>
            <p:ph type="body" sz="quarter" idx="11" hasCustomPrompt="1"/>
          </p:nvPr>
        </p:nvSpPr>
        <p:spPr>
          <a:xfrm>
            <a:off x="576263" y="942751"/>
            <a:ext cx="9336162" cy="322085"/>
          </a:xfrm>
          <a:prstGeom prst="rect">
            <a:avLst/>
          </a:prstGeom>
        </p:spPr>
        <p:txBody>
          <a:bodyPr lIns="0" tIns="0"/>
          <a:lstStyle>
            <a:lvl1pPr>
              <a:defRPr sz="1800" b="1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add subline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>
              <a:defRPr/>
            </a:pPr>
            <a:r>
              <a:rPr lang="en-US" sz="800" b="1" noProof="1">
                <a:solidFill>
                  <a:srgbClr val="ACB2B7"/>
                </a:solidFill>
                <a:cs typeface="Arial" panose="020B0604020202020204" pitchFamily="34" charset="0"/>
              </a:rPr>
              <a:t>Confidential © ams AG</a:t>
            </a:r>
          </a:p>
          <a:p>
            <a:pPr>
              <a:defRPr/>
            </a:pPr>
            <a:r>
              <a:rPr lang="en-US" sz="800" b="1" noProof="1">
                <a:solidFill>
                  <a:srgbClr val="ACB2B7"/>
                </a:solidFill>
                <a:cs typeface="Arial" panose="020B0604020202020204" pitchFamily="34" charset="0"/>
              </a:rPr>
              <a:t>Page </a:t>
            </a:r>
            <a:fld id="{2FD01DF8-2F0B-4C07-A807-531352C2D77F}" type="slidenum">
              <a:rPr lang="en-US" sz="800" b="1" noProof="1" smtClean="0">
                <a:solidFill>
                  <a:srgbClr val="ACB2B7"/>
                </a:solidFill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US" sz="800" noProof="1">
              <a:solidFill>
                <a:srgbClr val="4655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799222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 / 1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/>
          <p:cNvSpPr>
            <a:spLocks noGrp="1"/>
          </p:cNvSpPr>
          <p:nvPr>
            <p:ph type="pic" sz="quarter" idx="15" hasCustomPrompt="1"/>
          </p:nvPr>
        </p:nvSpPr>
        <p:spPr>
          <a:xfrm>
            <a:off x="576262" y="1557338"/>
            <a:ext cx="2519362" cy="237621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9" name="Picture Placeholder 16"/>
          <p:cNvSpPr>
            <a:spLocks noGrp="1"/>
          </p:cNvSpPr>
          <p:nvPr>
            <p:ph type="pic" sz="quarter" idx="17" hasCustomPrompt="1"/>
          </p:nvPr>
        </p:nvSpPr>
        <p:spPr>
          <a:xfrm>
            <a:off x="576262" y="4006032"/>
            <a:ext cx="2519362" cy="237621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12" name="Headline"/>
          <p:cNvSpPr>
            <a:spLocks noGrp="1"/>
          </p:cNvSpPr>
          <p:nvPr>
            <p:ph type="title" hasCustomPrompt="1"/>
          </p:nvPr>
        </p:nvSpPr>
        <p:spPr>
          <a:xfrm>
            <a:off x="576262" y="365125"/>
            <a:ext cx="9336162" cy="577627"/>
          </a:xfrm>
          <a:prstGeom prst="rect">
            <a:avLst/>
          </a:prstGeom>
        </p:spPr>
        <p:txBody>
          <a:bodyPr lIns="0"/>
          <a:lstStyle>
            <a:lvl1pPr>
              <a:defRPr sz="33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Subline"/>
          <p:cNvSpPr>
            <a:spLocks noGrp="1"/>
          </p:cNvSpPr>
          <p:nvPr>
            <p:ph type="body" sz="quarter" idx="11" hasCustomPrompt="1"/>
          </p:nvPr>
        </p:nvSpPr>
        <p:spPr>
          <a:xfrm>
            <a:off x="576263" y="942751"/>
            <a:ext cx="9336162" cy="322085"/>
          </a:xfrm>
          <a:prstGeom prst="rect">
            <a:avLst/>
          </a:prstGeom>
        </p:spPr>
        <p:txBody>
          <a:bodyPr lIns="0" tIns="0"/>
          <a:lstStyle>
            <a:lvl1pPr>
              <a:defRPr sz="1800" b="1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add subline</a:t>
            </a:r>
          </a:p>
        </p:txBody>
      </p:sp>
      <p:sp>
        <p:nvSpPr>
          <p:cNvPr id="15" name="Bodytext"/>
          <p:cNvSpPr>
            <a:spLocks noGrp="1"/>
          </p:cNvSpPr>
          <p:nvPr>
            <p:ph type="body" sz="quarter" idx="16" hasCustomPrompt="1"/>
          </p:nvPr>
        </p:nvSpPr>
        <p:spPr>
          <a:xfrm>
            <a:off x="3215680" y="1557338"/>
            <a:ext cx="8400058" cy="4824412"/>
          </a:xfrm>
          <a:prstGeom prst="rect">
            <a:avLst/>
          </a:prstGeom>
          <a:noFill/>
        </p:spPr>
        <p:txBody>
          <a:bodyPr lIns="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>
              <a:defRPr/>
            </a:pPr>
            <a:r>
              <a:rPr lang="en-US" sz="800" b="1" noProof="1">
                <a:solidFill>
                  <a:srgbClr val="ACB2B7"/>
                </a:solidFill>
                <a:cs typeface="Arial" panose="020B0604020202020204" pitchFamily="34" charset="0"/>
              </a:rPr>
              <a:t>Confidential © ams AG</a:t>
            </a:r>
          </a:p>
          <a:p>
            <a:pPr>
              <a:defRPr/>
            </a:pPr>
            <a:r>
              <a:rPr lang="en-US" sz="800" b="1" noProof="1">
                <a:solidFill>
                  <a:srgbClr val="ACB2B7"/>
                </a:solidFill>
                <a:cs typeface="Arial" panose="020B0604020202020204" pitchFamily="34" charset="0"/>
              </a:rPr>
              <a:t>Page </a:t>
            </a:r>
            <a:fld id="{2FD01DF8-2F0B-4C07-A807-531352C2D77F}" type="slidenum">
              <a:rPr lang="en-US" sz="800" b="1" noProof="1" smtClean="0">
                <a:solidFill>
                  <a:srgbClr val="ACB2B7"/>
                </a:solidFill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US" sz="800" noProof="1">
              <a:solidFill>
                <a:srgbClr val="4655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82847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-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77B765A1-F3AE-5A45-829F-CC7D0D587C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9"/>
            <a:ext cx="12192000" cy="6856781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9902292-52BF-8142-94C1-BBF62D6DFACC}"/>
              </a:ext>
            </a:extLst>
          </p:cNvPr>
          <p:cNvSpPr txBox="1"/>
          <p:nvPr userDrawn="1"/>
        </p:nvSpPr>
        <p:spPr>
          <a:xfrm>
            <a:off x="550899" y="6491809"/>
            <a:ext cx="25310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fld id="{334DA5DD-9C8C-6E48-9733-9F5D468F39D5}" type="slidenum">
              <a:rPr lang="en-DE"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DE" sz="9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140C47D-4A64-3543-A883-AE7900989A30}"/>
              </a:ext>
            </a:extLst>
          </p:cNvPr>
          <p:cNvSpPr txBox="1"/>
          <p:nvPr userDrawn="1"/>
        </p:nvSpPr>
        <p:spPr>
          <a:xfrm>
            <a:off x="546670" y="505626"/>
            <a:ext cx="2668423" cy="2769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DE" sz="15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nsing is lif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5C68D96-66CD-3B49-B809-DE0B9D30DBC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414395" y="544001"/>
            <a:ext cx="2215944" cy="23862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3C200A8-236A-1E40-928A-D3509D40DE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DE">
                <a:latin typeface="Arial" panose="020B0604020202020204" pitchFamily="34" charset="0"/>
                <a:cs typeface="Arial" panose="020B0604020202020204" pitchFamily="34" charset="0"/>
              </a:rPr>
              <a:t>For internal use</a:t>
            </a:r>
          </a:p>
        </p:txBody>
      </p:sp>
      <p:sp>
        <p:nvSpPr>
          <p:cNvPr id="8" name="Text Placeholder 17">
            <a:extLst>
              <a:ext uri="{FF2B5EF4-FFF2-40B4-BE49-F238E27FC236}">
                <a16:creationId xmlns:a16="http://schemas.microsoft.com/office/drawing/2014/main" id="{D1FBC294-6D29-0748-8A32-49F01C6F510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50899" y="4773702"/>
            <a:ext cx="10167806" cy="130621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ts val="1850"/>
              </a:lnSpc>
              <a:spcBef>
                <a:spcPts val="0"/>
              </a:spcBef>
              <a:buNone/>
              <a:defRPr sz="15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500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500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500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Name Surname, Department/Title, Legal Entity</a:t>
            </a:r>
          </a:p>
        </p:txBody>
      </p:sp>
      <p:sp>
        <p:nvSpPr>
          <p:cNvPr id="9" name="Text Placeholder 17">
            <a:extLst>
              <a:ext uri="{FF2B5EF4-FFF2-40B4-BE49-F238E27FC236}">
                <a16:creationId xmlns:a16="http://schemas.microsoft.com/office/drawing/2014/main" id="{55E6970E-E2CB-D04B-924F-C5C78CD8420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99" y="6069227"/>
            <a:ext cx="10167806" cy="250536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ts val="1850"/>
              </a:lnSpc>
              <a:spcBef>
                <a:spcPts val="0"/>
              </a:spcBef>
              <a:buNone/>
              <a:defRPr sz="15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500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500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500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D/MM/YYY</a:t>
            </a:r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258AF5A5-A093-CC4F-A455-8E9FFCAB7F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6670" y="2008428"/>
            <a:ext cx="11076174" cy="1534988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 sz="4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Headline</a:t>
            </a:r>
            <a:endParaRPr lang="en-DE"/>
          </a:p>
        </p:txBody>
      </p:sp>
      <p:sp>
        <p:nvSpPr>
          <p:cNvPr id="12" name="Text Placeholder 17">
            <a:extLst>
              <a:ext uri="{FF2B5EF4-FFF2-40B4-BE49-F238E27FC236}">
                <a16:creationId xmlns:a16="http://schemas.microsoft.com/office/drawing/2014/main" id="{67721118-929C-BB41-82DC-E323FC6754F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99" y="3600000"/>
            <a:ext cx="10167806" cy="64671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ts val="1850"/>
              </a:lnSpc>
              <a:spcBef>
                <a:spcPts val="0"/>
              </a:spcBef>
              <a:buNone/>
              <a:defRPr sz="15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500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500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500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headline</a:t>
            </a:r>
          </a:p>
        </p:txBody>
      </p:sp>
    </p:spTree>
    <p:extLst>
      <p:ext uri="{BB962C8B-B14F-4D97-AF65-F5344CB8AC3E}">
        <p14:creationId xmlns:p14="http://schemas.microsoft.com/office/powerpoint/2010/main" val="308932936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 /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/>
          <p:cNvSpPr>
            <a:spLocks noGrp="1"/>
          </p:cNvSpPr>
          <p:nvPr>
            <p:ph type="pic" sz="quarter" idx="15" hasCustomPrompt="1"/>
          </p:nvPr>
        </p:nvSpPr>
        <p:spPr>
          <a:xfrm>
            <a:off x="576262" y="1561976"/>
            <a:ext cx="3503514" cy="237621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8" name="Bodytext"/>
          <p:cNvSpPr>
            <a:spLocks noGrp="1"/>
          </p:cNvSpPr>
          <p:nvPr>
            <p:ph type="body" sz="quarter" idx="16" hasCustomPrompt="1"/>
          </p:nvPr>
        </p:nvSpPr>
        <p:spPr>
          <a:xfrm>
            <a:off x="576262" y="4077618"/>
            <a:ext cx="3503514" cy="2159694"/>
          </a:xfrm>
          <a:prstGeom prst="rect">
            <a:avLst/>
          </a:prstGeom>
          <a:noFill/>
        </p:spPr>
        <p:txBody>
          <a:bodyPr lIns="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spcBef>
                <a:spcPts val="360"/>
              </a:spcBef>
              <a:defRPr sz="1600"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9" name="Picture Placeholder 16"/>
          <p:cNvSpPr>
            <a:spLocks noGrp="1"/>
          </p:cNvSpPr>
          <p:nvPr>
            <p:ph type="pic" sz="quarter" idx="17" hasCustomPrompt="1"/>
          </p:nvPr>
        </p:nvSpPr>
        <p:spPr>
          <a:xfrm>
            <a:off x="8112224" y="1561976"/>
            <a:ext cx="3503514" cy="237621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12" name="Headline"/>
          <p:cNvSpPr>
            <a:spLocks noGrp="1"/>
          </p:cNvSpPr>
          <p:nvPr>
            <p:ph type="title" hasCustomPrompt="1"/>
          </p:nvPr>
        </p:nvSpPr>
        <p:spPr>
          <a:xfrm>
            <a:off x="576262" y="365125"/>
            <a:ext cx="9336162" cy="577627"/>
          </a:xfrm>
          <a:prstGeom prst="rect">
            <a:avLst/>
          </a:prstGeom>
        </p:spPr>
        <p:txBody>
          <a:bodyPr lIns="0"/>
          <a:lstStyle>
            <a:lvl1pPr>
              <a:defRPr sz="33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Subline"/>
          <p:cNvSpPr>
            <a:spLocks noGrp="1"/>
          </p:cNvSpPr>
          <p:nvPr>
            <p:ph type="body" sz="quarter" idx="11" hasCustomPrompt="1"/>
          </p:nvPr>
        </p:nvSpPr>
        <p:spPr>
          <a:xfrm>
            <a:off x="576263" y="942751"/>
            <a:ext cx="9336162" cy="322085"/>
          </a:xfrm>
          <a:prstGeom prst="rect">
            <a:avLst/>
          </a:prstGeom>
        </p:spPr>
        <p:txBody>
          <a:bodyPr lIns="0" tIns="0"/>
          <a:lstStyle>
            <a:lvl1pPr>
              <a:defRPr sz="1800" b="1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add subline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>
              <a:defRPr/>
            </a:pPr>
            <a:r>
              <a:rPr lang="en-US" sz="800" b="1" noProof="1">
                <a:solidFill>
                  <a:srgbClr val="ACB2B7"/>
                </a:solidFill>
                <a:cs typeface="Arial" panose="020B0604020202020204" pitchFamily="34" charset="0"/>
              </a:rPr>
              <a:t>Confidential © ams AG</a:t>
            </a:r>
          </a:p>
          <a:p>
            <a:pPr>
              <a:defRPr/>
            </a:pPr>
            <a:r>
              <a:rPr lang="en-US" sz="800" b="1" noProof="1">
                <a:solidFill>
                  <a:srgbClr val="ACB2B7"/>
                </a:solidFill>
                <a:cs typeface="Arial" panose="020B0604020202020204" pitchFamily="34" charset="0"/>
              </a:rPr>
              <a:t>Page </a:t>
            </a:r>
            <a:fld id="{2FD01DF8-2F0B-4C07-A807-531352C2D77F}" type="slidenum">
              <a:rPr lang="en-US" sz="800" b="1" noProof="1" smtClean="0">
                <a:solidFill>
                  <a:srgbClr val="ACB2B7"/>
                </a:solidFill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US" sz="800" noProof="1">
              <a:solidFill>
                <a:srgbClr val="46555F"/>
              </a:solidFill>
            </a:endParaRP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4367808" y="4077072"/>
            <a:ext cx="3503514" cy="2159694"/>
          </a:xfrm>
          <a:prstGeom prst="rect">
            <a:avLst/>
          </a:prstGeom>
          <a:noFill/>
        </p:spPr>
        <p:txBody>
          <a:bodyPr lIns="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spcBef>
                <a:spcPts val="360"/>
              </a:spcBef>
              <a:defRPr sz="1600"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1" hasCustomPrompt="1"/>
          </p:nvPr>
        </p:nvSpPr>
        <p:spPr>
          <a:xfrm>
            <a:off x="8112224" y="4077618"/>
            <a:ext cx="3503514" cy="2159694"/>
          </a:xfrm>
          <a:prstGeom prst="rect">
            <a:avLst/>
          </a:prstGeom>
          <a:noFill/>
        </p:spPr>
        <p:txBody>
          <a:bodyPr lIns="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spcBef>
                <a:spcPts val="360"/>
              </a:spcBef>
              <a:defRPr sz="1600"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4" name="Picture Placeholder 16"/>
          <p:cNvSpPr>
            <a:spLocks noGrp="1"/>
          </p:cNvSpPr>
          <p:nvPr>
            <p:ph type="pic" sz="quarter" idx="22" hasCustomPrompt="1"/>
          </p:nvPr>
        </p:nvSpPr>
        <p:spPr>
          <a:xfrm>
            <a:off x="4367808" y="1556792"/>
            <a:ext cx="3503514" cy="237621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80355781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odytext"/>
          <p:cNvSpPr>
            <a:spLocks noGrp="1"/>
          </p:cNvSpPr>
          <p:nvPr>
            <p:ph sz="quarter" idx="19" hasCustomPrompt="1"/>
          </p:nvPr>
        </p:nvSpPr>
        <p:spPr>
          <a:xfrm>
            <a:off x="576262" y="1557338"/>
            <a:ext cx="5447730" cy="4824412"/>
          </a:xfrm>
          <a:prstGeom prst="rect">
            <a:avLst/>
          </a:prstGeom>
        </p:spPr>
        <p:txBody>
          <a:bodyPr lIns="0"/>
          <a:lstStyle>
            <a:lvl1pPr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Content Placeholder 4"/>
          <p:cNvSpPr>
            <a:spLocks noGrp="1"/>
          </p:cNvSpPr>
          <p:nvPr>
            <p:ph sz="quarter" idx="20" hasCustomPrompt="1"/>
          </p:nvPr>
        </p:nvSpPr>
        <p:spPr>
          <a:xfrm>
            <a:off x="6156881" y="1557338"/>
            <a:ext cx="5447730" cy="4824412"/>
          </a:xfrm>
          <a:prstGeom prst="rect">
            <a:avLst/>
          </a:prstGeom>
        </p:spPr>
        <p:txBody>
          <a:bodyPr lIns="0"/>
          <a:lstStyle>
            <a:lvl1pPr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Headline"/>
          <p:cNvSpPr>
            <a:spLocks noGrp="1"/>
          </p:cNvSpPr>
          <p:nvPr>
            <p:ph type="title" hasCustomPrompt="1"/>
          </p:nvPr>
        </p:nvSpPr>
        <p:spPr>
          <a:xfrm>
            <a:off x="576262" y="365125"/>
            <a:ext cx="9336162" cy="577627"/>
          </a:xfrm>
          <a:prstGeom prst="rect">
            <a:avLst/>
          </a:prstGeom>
        </p:spPr>
        <p:txBody>
          <a:bodyPr lIns="0"/>
          <a:lstStyle>
            <a:lvl1pPr>
              <a:defRPr sz="33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Subline"/>
          <p:cNvSpPr>
            <a:spLocks noGrp="1"/>
          </p:cNvSpPr>
          <p:nvPr>
            <p:ph type="body" sz="quarter" idx="11" hasCustomPrompt="1"/>
          </p:nvPr>
        </p:nvSpPr>
        <p:spPr>
          <a:xfrm>
            <a:off x="576263" y="942751"/>
            <a:ext cx="9336162" cy="322085"/>
          </a:xfrm>
          <a:prstGeom prst="rect">
            <a:avLst/>
          </a:prstGeom>
        </p:spPr>
        <p:txBody>
          <a:bodyPr lIns="0" tIns="0"/>
          <a:lstStyle>
            <a:lvl1pPr>
              <a:defRPr sz="1800" b="1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add subline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pPr>
              <a:defRPr/>
            </a:pPr>
            <a:r>
              <a:rPr lang="en-US" sz="800" b="1" noProof="1">
                <a:solidFill>
                  <a:srgbClr val="ACB2B7"/>
                </a:solidFill>
                <a:cs typeface="Arial" panose="020B0604020202020204" pitchFamily="34" charset="0"/>
              </a:rPr>
              <a:t>Confidential © ams AG</a:t>
            </a:r>
          </a:p>
          <a:p>
            <a:pPr>
              <a:defRPr/>
            </a:pPr>
            <a:r>
              <a:rPr lang="en-US" sz="800" b="1" noProof="1">
                <a:solidFill>
                  <a:srgbClr val="ACB2B7"/>
                </a:solidFill>
                <a:cs typeface="Arial" panose="020B0604020202020204" pitchFamily="34" charset="0"/>
              </a:rPr>
              <a:t>Page </a:t>
            </a:r>
            <a:fld id="{2FD01DF8-2F0B-4C07-A807-531352C2D77F}" type="slidenum">
              <a:rPr lang="en-US" sz="800" b="1" noProof="1" smtClean="0">
                <a:solidFill>
                  <a:srgbClr val="ACB2B7"/>
                </a:solidFill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US" sz="800" noProof="1">
              <a:solidFill>
                <a:srgbClr val="4655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701477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tro (stati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/>
          <p:cNvPicPr>
            <a:picLocks noGrp="1"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204" t="-8748" b="8748"/>
          <a:stretch/>
        </p:blipFill>
        <p:spPr>
          <a:xfrm>
            <a:off x="2135560" y="836712"/>
            <a:ext cx="4716016" cy="4907810"/>
          </a:xfrm>
          <a:prstGeom prst="rect">
            <a:avLst/>
          </a:prstGeom>
        </p:spPr>
      </p:pic>
      <p:sp>
        <p:nvSpPr>
          <p:cNvPr id="3" name="Textplatzhalter 2"/>
          <p:cNvSpPr txBox="1">
            <a:spLocks/>
          </p:cNvSpPr>
          <p:nvPr userDrawn="1"/>
        </p:nvSpPr>
        <p:spPr>
          <a:xfrm>
            <a:off x="6504082" y="2636912"/>
            <a:ext cx="3563028" cy="478355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300" b="0" kern="1200" baseline="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68000" indent="-285750" algn="l" defTabSz="914400" rtl="0" eaLnBrk="1" latinLnBrk="0" hangingPunct="1">
              <a:spcBef>
                <a:spcPct val="200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30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648000" indent="-284400" algn="l" defTabSz="914400" rtl="0" eaLnBrk="1" latinLnBrk="0" hangingPunct="1">
              <a:spcBef>
                <a:spcPct val="20000"/>
              </a:spcBef>
              <a:buClr>
                <a:schemeClr val="accent5"/>
              </a:buClr>
              <a:buFont typeface="Symbol" panose="05050102010706020507" pitchFamily="18" charset="2"/>
              <a:buChar char="-"/>
              <a:defRPr sz="130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28000" indent="-284400" algn="l" defTabSz="914400" rtl="0" eaLnBrk="1" latinLnBrk="0" hangingPunct="1">
              <a:spcBef>
                <a:spcPct val="20000"/>
              </a:spcBef>
              <a:buClr>
                <a:schemeClr val="accent5"/>
              </a:buClr>
              <a:buFont typeface="Arial" panose="020B0604020202020204" pitchFamily="34" charset="0"/>
              <a:buChar char="»"/>
              <a:defRPr sz="130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08000" indent="-284400" algn="l" defTabSz="914400" rtl="0" eaLnBrk="1" latinLnBrk="0" hangingPunct="1">
              <a:spcBef>
                <a:spcPct val="20000"/>
              </a:spcBef>
              <a:buClr>
                <a:schemeClr val="accent5"/>
              </a:buClr>
              <a:buFont typeface="Arial" panose="020B0604020202020204" pitchFamily="34" charset="0"/>
              <a:buChar char="▪"/>
              <a:defRPr sz="130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4000" b="1" dirty="0">
                <a:solidFill>
                  <a:schemeClr val="tx2"/>
                </a:solidFill>
              </a:rPr>
              <a:t>Thank you!</a:t>
            </a:r>
          </a:p>
        </p:txBody>
      </p:sp>
      <p:sp>
        <p:nvSpPr>
          <p:cNvPr id="4" name="Textplatzhalter 2"/>
          <p:cNvSpPr txBox="1">
            <a:spLocks/>
          </p:cNvSpPr>
          <p:nvPr userDrawn="1"/>
        </p:nvSpPr>
        <p:spPr>
          <a:xfrm>
            <a:off x="6600056" y="3457575"/>
            <a:ext cx="2016224" cy="478355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300" b="0" kern="1200" baseline="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68000" indent="-285750" algn="l" defTabSz="914400" rtl="0" eaLnBrk="1" latinLnBrk="0" hangingPunct="1">
              <a:spcBef>
                <a:spcPct val="200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30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648000" indent="-284400" algn="l" defTabSz="914400" rtl="0" eaLnBrk="1" latinLnBrk="0" hangingPunct="1">
              <a:spcBef>
                <a:spcPct val="20000"/>
              </a:spcBef>
              <a:buClr>
                <a:schemeClr val="accent5"/>
              </a:buClr>
              <a:buFont typeface="Symbol" panose="05050102010706020507" pitchFamily="18" charset="2"/>
              <a:buChar char="-"/>
              <a:defRPr sz="130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28000" indent="-284400" algn="l" defTabSz="914400" rtl="0" eaLnBrk="1" latinLnBrk="0" hangingPunct="1">
              <a:spcBef>
                <a:spcPct val="20000"/>
              </a:spcBef>
              <a:buClr>
                <a:schemeClr val="accent5"/>
              </a:buClr>
              <a:buFont typeface="Arial" panose="020B0604020202020204" pitchFamily="34" charset="0"/>
              <a:buChar char="»"/>
              <a:defRPr sz="130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08000" indent="-284400" algn="l" defTabSz="914400" rtl="0" eaLnBrk="1" latinLnBrk="0" hangingPunct="1">
              <a:spcBef>
                <a:spcPct val="20000"/>
              </a:spcBef>
              <a:buClr>
                <a:schemeClr val="accent5"/>
              </a:buClr>
              <a:buFont typeface="Arial" panose="020B0604020202020204" pitchFamily="34" charset="0"/>
              <a:buChar char="▪"/>
              <a:defRPr sz="130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400" dirty="0">
                <a:solidFill>
                  <a:schemeClr val="tx1"/>
                </a:solidFill>
              </a:rPr>
              <a:t>Please visit our website </a:t>
            </a:r>
          </a:p>
          <a:p>
            <a:pPr>
              <a:spcBef>
                <a:spcPts val="0"/>
              </a:spcBef>
            </a:pPr>
            <a:r>
              <a:rPr lang="en-US" sz="1400" dirty="0">
                <a:solidFill>
                  <a:schemeClr val="tx1"/>
                </a:solidFill>
              </a:rPr>
              <a:t>www.ams.com</a:t>
            </a:r>
            <a:endParaRPr lang="en-US" sz="1400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767375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-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77B765A1-F3AE-5A45-829F-CC7D0D587C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9"/>
            <a:ext cx="12192000" cy="6856781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9902292-52BF-8142-94C1-BBF62D6DFACC}"/>
              </a:ext>
            </a:extLst>
          </p:cNvPr>
          <p:cNvSpPr txBox="1"/>
          <p:nvPr userDrawn="1"/>
        </p:nvSpPr>
        <p:spPr>
          <a:xfrm>
            <a:off x="550899" y="6491809"/>
            <a:ext cx="25310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fld id="{334DA5DD-9C8C-6E48-9733-9F5D468F39D5}" type="slidenum">
              <a:rPr lang="en-DE"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DE" sz="9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140C47D-4A64-3543-A883-AE7900989A30}"/>
              </a:ext>
            </a:extLst>
          </p:cNvPr>
          <p:cNvSpPr txBox="1"/>
          <p:nvPr userDrawn="1"/>
        </p:nvSpPr>
        <p:spPr>
          <a:xfrm>
            <a:off x="546670" y="505626"/>
            <a:ext cx="2668423" cy="2769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DE" sz="15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nsing is lif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5C68D96-66CD-3B49-B809-DE0B9D30DBC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414395" y="544001"/>
            <a:ext cx="2215944" cy="23862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3C200A8-236A-1E40-928A-D3509D40DE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DE">
                <a:latin typeface="Arial" panose="020B0604020202020204" pitchFamily="34" charset="0"/>
                <a:cs typeface="Arial" panose="020B0604020202020204" pitchFamily="34" charset="0"/>
              </a:rPr>
              <a:t>For internal use</a:t>
            </a:r>
          </a:p>
        </p:txBody>
      </p:sp>
      <p:sp>
        <p:nvSpPr>
          <p:cNvPr id="8" name="Text Placeholder 17">
            <a:extLst>
              <a:ext uri="{FF2B5EF4-FFF2-40B4-BE49-F238E27FC236}">
                <a16:creationId xmlns:a16="http://schemas.microsoft.com/office/drawing/2014/main" id="{D1FBC294-6D29-0748-8A32-49F01C6F510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50899" y="4773702"/>
            <a:ext cx="10167806" cy="130621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ts val="1850"/>
              </a:lnSpc>
              <a:spcBef>
                <a:spcPts val="0"/>
              </a:spcBef>
              <a:buNone/>
              <a:defRPr sz="15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500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500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500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Name Surname, Department/Title, Legal Entity</a:t>
            </a:r>
          </a:p>
        </p:txBody>
      </p:sp>
      <p:sp>
        <p:nvSpPr>
          <p:cNvPr id="9" name="Text Placeholder 17">
            <a:extLst>
              <a:ext uri="{FF2B5EF4-FFF2-40B4-BE49-F238E27FC236}">
                <a16:creationId xmlns:a16="http://schemas.microsoft.com/office/drawing/2014/main" id="{55E6970E-E2CB-D04B-924F-C5C78CD8420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99" y="6069227"/>
            <a:ext cx="10167806" cy="250536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ts val="1850"/>
              </a:lnSpc>
              <a:spcBef>
                <a:spcPts val="0"/>
              </a:spcBef>
              <a:buNone/>
              <a:defRPr sz="15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500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500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500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D/MM/YYY</a:t>
            </a:r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258AF5A5-A093-CC4F-A455-8E9FFCAB7F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6670" y="2008428"/>
            <a:ext cx="11076174" cy="1534988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 sz="4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Headline</a:t>
            </a:r>
            <a:endParaRPr lang="en-DE"/>
          </a:p>
        </p:txBody>
      </p:sp>
      <p:sp>
        <p:nvSpPr>
          <p:cNvPr id="12" name="Text Placeholder 17">
            <a:extLst>
              <a:ext uri="{FF2B5EF4-FFF2-40B4-BE49-F238E27FC236}">
                <a16:creationId xmlns:a16="http://schemas.microsoft.com/office/drawing/2014/main" id="{67721118-929C-BB41-82DC-E323FC6754F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99" y="3600000"/>
            <a:ext cx="10167806" cy="64671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ts val="1850"/>
              </a:lnSpc>
              <a:spcBef>
                <a:spcPts val="0"/>
              </a:spcBef>
              <a:buNone/>
              <a:defRPr sz="15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500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500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500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headline</a:t>
            </a:r>
          </a:p>
        </p:txBody>
      </p:sp>
    </p:spTree>
    <p:extLst>
      <p:ext uri="{BB962C8B-B14F-4D97-AF65-F5344CB8AC3E}">
        <p14:creationId xmlns:p14="http://schemas.microsoft.com/office/powerpoint/2010/main" val="187558294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You-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11AB1211-A8DC-B249-908D-F453D370A62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9"/>
            <a:ext cx="12192000" cy="6856781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2158E6C7-66E4-534E-800A-28B0FEBBE9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6670" y="2660673"/>
            <a:ext cx="11076174" cy="1534988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4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Thank you</a:t>
            </a:r>
            <a:endParaRPr lang="en-DE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140C47D-4A64-3543-A883-AE7900989A30}"/>
              </a:ext>
            </a:extLst>
          </p:cNvPr>
          <p:cNvSpPr txBox="1"/>
          <p:nvPr userDrawn="1"/>
        </p:nvSpPr>
        <p:spPr>
          <a:xfrm>
            <a:off x="546670" y="505626"/>
            <a:ext cx="2668423" cy="2769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DE" sz="15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nsing is lif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6BFBDD8-1FA7-8C4A-ADFC-E5CEEA7FD31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414045" y="547470"/>
            <a:ext cx="2216294" cy="237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7043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Glob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1">
            <a:extLst>
              <a:ext uri="{FF2B5EF4-FFF2-40B4-BE49-F238E27FC236}">
                <a16:creationId xmlns:a16="http://schemas.microsoft.com/office/drawing/2014/main" id="{496CF846-3C31-CB49-9AC0-AABD9458F89A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242"/>
            <a:ext cx="12192000" cy="6858000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62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2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8BC3794-3DBD-4B4B-A77B-031751405A4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551385" y="2579645"/>
            <a:ext cx="8509686" cy="677108"/>
          </a:xfrm>
          <a:prstGeom prst="rect">
            <a:avLst/>
          </a:prstGeom>
        </p:spPr>
        <p:txBody>
          <a:bodyPr anchor="t"/>
          <a:lstStyle>
            <a:lvl1pPr algn="l">
              <a:defRPr lang="x-none" sz="4400" b="0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x-none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551385" y="3247840"/>
            <a:ext cx="8509686" cy="430887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lang="x-none" sz="2800" cap="none" baseline="0">
                <a:solidFill>
                  <a:schemeClr val="accent4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x-none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595474" y="4947682"/>
            <a:ext cx="5755222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x-none" sz="16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9420436" y="5284395"/>
            <a:ext cx="2220179" cy="184666"/>
          </a:xfrm>
        </p:spPr>
        <p:txBody>
          <a:bodyPr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mm/</a:t>
            </a:r>
            <a:r>
              <a:rPr lang="en-US" dirty="0" err="1"/>
              <a:t>yyyy</a:t>
            </a:r>
            <a:endParaRPr lang="en-US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551385" y="4867075"/>
            <a:ext cx="3992040" cy="307777"/>
          </a:xfrm>
        </p:spPr>
        <p:txBody>
          <a:bodyPr/>
          <a:lstStyle>
            <a:lvl1pPr algn="l"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err="1"/>
              <a:t>Firstname</a:t>
            </a:r>
            <a:r>
              <a:rPr lang="en-US" dirty="0"/>
              <a:t> </a:t>
            </a:r>
            <a:r>
              <a:rPr lang="en-US" dirty="0" err="1"/>
              <a:t>Lastname</a:t>
            </a:r>
            <a:endParaRPr lang="en-US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51385" y="5284395"/>
            <a:ext cx="3992040" cy="554430"/>
          </a:xfrm>
        </p:spPr>
        <p:txBody>
          <a:bodyPr/>
          <a:lstStyle>
            <a:lvl1pPr algn="l">
              <a:defRPr sz="12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Job Title, Legal Entity</a:t>
            </a: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1385" y="402799"/>
            <a:ext cx="1486967" cy="282852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50617" y="307900"/>
            <a:ext cx="2466894" cy="392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6824882"/>
      </p:ext>
    </p:extLst>
  </p:cSld>
  <p:clrMapOvr>
    <a:masterClrMapping/>
  </p:clrMapOvr>
  <p:hf hdr="0" ft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Left Image">
    <p:bg>
      <p:bgPr>
        <a:solidFill>
          <a:schemeClr val="tx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3771900"/>
            <a:ext cx="12192000" cy="30861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62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2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8BC3794-3DBD-4B4B-A77B-031751405A4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595474" y="4947682"/>
            <a:ext cx="5755222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762000" y="2590800"/>
            <a:ext cx="10591800" cy="579600"/>
          </a:xfrm>
        </p:spPr>
        <p:txBody>
          <a:bodyPr/>
          <a:lstStyle>
            <a:lvl1pPr algn="l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762000" y="4419600"/>
            <a:ext cx="10591800" cy="1676400"/>
          </a:xfrm>
        </p:spPr>
        <p:txBody>
          <a:bodyPr/>
          <a:lstStyle>
            <a:lvl2pPr marL="468000" indent="-285750">
              <a:buFont typeface="Wingdings" panose="05000000000000000000" pitchFamily="2" charset="2"/>
              <a:buChar char="§"/>
              <a:defRPr/>
            </a:lvl2pPr>
            <a:lvl3pPr marL="648000" indent="-284400">
              <a:buFont typeface="Arial" panose="020B0604020202020204" pitchFamily="34" charset="0"/>
              <a:buChar char="•"/>
              <a:defRPr/>
            </a:lvl3pPr>
            <a:lvl5pPr marL="1008000" indent="-284400">
              <a:buFont typeface="Courier New" panose="02070309020205020404" pitchFamily="49" charset="0"/>
              <a:buChar char="o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5"/>
          <p:cNvSpPr txBox="1">
            <a:spLocks/>
          </p:cNvSpPr>
          <p:nvPr/>
        </p:nvSpPr>
        <p:spPr>
          <a:xfrm>
            <a:off x="762000" y="3284700"/>
            <a:ext cx="10591800" cy="372900"/>
          </a:xfrm>
          <a:prstGeom prst="rect">
            <a:avLst/>
          </a:prstGeom>
        </p:spPr>
        <p:txBody>
          <a:bodyPr vert="horz" wrap="none" lIns="0" tIns="45720" rIns="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600" kern="1200" baseline="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  <a:lvl5pPr eaLnBrk="1" hangingPunct="1">
              <a:defRPr/>
            </a:lvl5pPr>
          </a:lstStyle>
          <a:p>
            <a:r>
              <a:rPr lang="en-US" sz="1800" dirty="0"/>
              <a:t>Click to edit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247223558"/>
      </p:ext>
    </p:extLst>
  </p:cSld>
  <p:clrMapOvr>
    <a:masterClrMapping/>
  </p:clrMapOvr>
  <p:hf hdr="0" ft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Lef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lowchart: Process 2"/>
          <p:cNvSpPr/>
          <p:nvPr/>
        </p:nvSpPr>
        <p:spPr>
          <a:xfrm>
            <a:off x="0" y="0"/>
            <a:ext cx="2438400" cy="6858000"/>
          </a:xfrm>
          <a:prstGeom prst="flowChartProcess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Headline"/>
          <p:cNvSpPr>
            <a:spLocks noGrp="1"/>
          </p:cNvSpPr>
          <p:nvPr>
            <p:ph type="body" sz="quarter" idx="10"/>
          </p:nvPr>
        </p:nvSpPr>
        <p:spPr>
          <a:xfrm>
            <a:off x="304800" y="2590800"/>
            <a:ext cx="1828800" cy="2062103"/>
          </a:xfrm>
        </p:spPr>
        <p:txBody>
          <a:bodyPr wrap="square" lIns="90000" anchor="ctr">
            <a:spAutoFit/>
          </a:bodyPr>
          <a:lstStyle>
            <a:lvl1pPr algn="ctr">
              <a:defRPr sz="3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743200" y="365125"/>
            <a:ext cx="7167600" cy="579600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5142287"/>
      </p:ext>
    </p:extLst>
  </p:cSld>
  <p:clrMapOvr>
    <a:masterClrMapping/>
  </p:clrMapOvr>
  <p:hf hdr="0" ft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Lef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2578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62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2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8BC3794-3DBD-4B4B-A77B-031751405A4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595474" y="4947682"/>
            <a:ext cx="5755222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5638800" y="609600"/>
            <a:ext cx="5867400" cy="579600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5638800" y="1905000"/>
            <a:ext cx="5867400" cy="4419600"/>
          </a:xfrm>
        </p:spPr>
        <p:txBody>
          <a:bodyPr/>
          <a:lstStyle>
            <a:lvl2pPr marL="468000" indent="-285750">
              <a:buFont typeface="Wingdings" panose="05000000000000000000" pitchFamily="2" charset="2"/>
              <a:buChar char="§"/>
              <a:defRPr/>
            </a:lvl2pPr>
            <a:lvl3pPr marL="648000" indent="-284400">
              <a:buFont typeface="Arial" panose="020B0604020202020204" pitchFamily="34" charset="0"/>
              <a:buChar char="•"/>
              <a:defRPr/>
            </a:lvl3pPr>
            <a:lvl4pPr marL="828000" indent="-284400">
              <a:buFont typeface="Wingdings" panose="05000000000000000000" pitchFamily="2" charset="2"/>
              <a:buChar char="Ø"/>
              <a:defRPr/>
            </a:lvl4pPr>
            <a:lvl5pPr marL="1008000" indent="-284400">
              <a:buFont typeface="Courier New" panose="02070309020205020404" pitchFamily="49" charset="0"/>
              <a:buChar char="o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itle 5"/>
          <p:cNvSpPr txBox="1">
            <a:spLocks/>
          </p:cNvSpPr>
          <p:nvPr/>
        </p:nvSpPr>
        <p:spPr>
          <a:xfrm>
            <a:off x="5638800" y="1228725"/>
            <a:ext cx="5867400" cy="371475"/>
          </a:xfrm>
          <a:prstGeom prst="rect">
            <a:avLst/>
          </a:prstGeom>
        </p:spPr>
        <p:txBody>
          <a:bodyPr vert="horz" wrap="none" lIns="0" tIns="45720" rIns="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kern="1200" baseline="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  <a:lvl5pPr eaLnBrk="1" hangingPunct="1">
              <a:defRPr/>
            </a:lvl5pPr>
          </a:lstStyle>
          <a:p>
            <a:r>
              <a:rPr lang="en-US" sz="1800" dirty="0"/>
              <a:t>Click to edit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25455230"/>
      </p:ext>
    </p:extLst>
  </p:cSld>
  <p:clrMapOvr>
    <a:masterClrMapping/>
  </p:clrMapOvr>
  <p:hf hdr="0" ft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Slid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6" progId="TCLayout.ActiveDocument.1">
                  <p:embed/>
                </p:oleObj>
              </mc:Choice>
              <mc:Fallback>
                <p:oleObj name="think-cell Slide" r:id="rId3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 hasCustomPrompt="1"/>
          </p:nvPr>
        </p:nvSpPr>
        <p:spPr bwMode="gray">
          <a:xfrm>
            <a:off x="600073" y="234866"/>
            <a:ext cx="9039227" cy="488164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Headline</a:t>
            </a:r>
            <a:endParaRPr lang="x-none" dirty="0"/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58003" y="51835"/>
            <a:ext cx="123156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26"/>
            <a:endParaRPr lang="x-none" sz="61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600073" y="728856"/>
            <a:ext cx="9039227" cy="246221"/>
          </a:xfrm>
        </p:spPr>
        <p:txBody>
          <a:bodyPr/>
          <a:lstStyle>
            <a:lvl1pPr>
              <a:defRPr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Click to add Subline</a:t>
            </a:r>
          </a:p>
        </p:txBody>
      </p:sp>
      <p:sp>
        <p:nvSpPr>
          <p:cNvPr id="10" name="Bodytext"/>
          <p:cNvSpPr>
            <a:spLocks noGrp="1"/>
          </p:cNvSpPr>
          <p:nvPr>
            <p:ph sz="quarter" idx="14" hasCustomPrompt="1"/>
          </p:nvPr>
        </p:nvSpPr>
        <p:spPr>
          <a:xfrm>
            <a:off x="600072" y="1194894"/>
            <a:ext cx="10991853" cy="5184306"/>
          </a:xfrm>
        </p:spPr>
        <p:txBody>
          <a:bodyPr>
            <a:noAutofit/>
          </a:bodyPr>
          <a:lstStyle>
            <a:lvl2pPr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43024712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7489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701">
          <p15:clr>
            <a:srgbClr val="F26B43"/>
          </p15:clr>
        </p15:guide>
        <p15:guide id="4" orient="horz" pos="3991">
          <p15:clr>
            <a:srgbClr val="F26B43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-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0FF1779F-5C7F-C344-B920-6D6AC1FFF8F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9"/>
            <a:ext cx="12192000" cy="6856781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9902292-52BF-8142-94C1-BBF62D6DFACC}"/>
              </a:ext>
            </a:extLst>
          </p:cNvPr>
          <p:cNvSpPr txBox="1"/>
          <p:nvPr userDrawn="1"/>
        </p:nvSpPr>
        <p:spPr>
          <a:xfrm>
            <a:off x="550899" y="6491809"/>
            <a:ext cx="25310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fld id="{334DA5DD-9C8C-6E48-9733-9F5D468F39D5}" type="slidenum">
              <a:rPr lang="en-DE"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DE" sz="9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158E6C7-66E4-534E-800A-28B0FEBBE9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6670" y="2660673"/>
            <a:ext cx="11076174" cy="1534988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4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hapter divider or key statement</a:t>
            </a:r>
            <a:endParaRPr lang="en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EEBB6B-553F-2546-9A64-871DA1B257E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DE">
                <a:latin typeface="Arial" panose="020B0604020202020204" pitchFamily="34" charset="0"/>
                <a:cs typeface="Arial" panose="020B0604020202020204" pitchFamily="34" charset="0"/>
              </a:rPr>
              <a:t>For internal us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99E77DE0-1645-314C-8092-256F8193B0C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378163" y="6463703"/>
            <a:ext cx="1243881" cy="133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057437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6" progId="TCLayout.ActiveDocument.1">
                  <p:embed/>
                </p:oleObj>
              </mc:Choice>
              <mc:Fallback>
                <p:oleObj name="think-cell Slide" r:id="rId3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58003" y="51835"/>
            <a:ext cx="123156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26"/>
            <a:endParaRPr lang="x-none" sz="61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226256008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7489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701">
          <p15:clr>
            <a:srgbClr val="F26B43"/>
          </p15:clr>
        </p15:guide>
        <p15:guide id="4" orient="horz" pos="3991">
          <p15:clr>
            <a:srgbClr val="F26B43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SG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G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CB202B4-4EAC-40E6-B63D-4637600ED756}" type="datetimeFigureOut">
              <a:rPr lang="en-SG" smtClean="0"/>
              <a:t>12/6/2025</a:t>
            </a:fld>
            <a:endParaRPr lang="en-SG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SG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en-US" sz="800" b="1" noProof="1">
                <a:solidFill>
                  <a:srgbClr val="ACB2B7"/>
                </a:solidFill>
                <a:cs typeface="Arial" panose="020B0604020202020204" pitchFamily="34" charset="0"/>
              </a:rPr>
              <a:t>Confidential © ams AG</a:t>
            </a:r>
          </a:p>
          <a:p>
            <a:pPr>
              <a:defRPr/>
            </a:pPr>
            <a:r>
              <a:rPr lang="en-US" sz="800" b="1" noProof="1">
                <a:solidFill>
                  <a:srgbClr val="ACB2B7"/>
                </a:solidFill>
                <a:cs typeface="Arial" panose="020B0604020202020204" pitchFamily="34" charset="0"/>
              </a:rPr>
              <a:t>Page ‹Nr.›</a:t>
            </a:r>
            <a:endParaRPr lang="en-US" sz="800" noProof="1">
              <a:solidFill>
                <a:srgbClr val="4655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3648140"/>
      </p:ext>
    </p:extLst>
  </p:cSld>
  <p:clrMapOvr>
    <a:masterClrMapping/>
  </p:clrMapOvr>
  <p:hf hdr="0" ft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ED9C8-F09A-4D9E-BEC0-4725162E21FF}" type="datetimeFigureOut">
              <a:rPr lang="en-US" smtClean="0"/>
              <a:t>6/12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 sz="800" b="1" noProof="1">
                <a:solidFill>
                  <a:srgbClr val="ACB2B7"/>
                </a:solidFill>
                <a:cs typeface="Arial" panose="020B0604020202020204" pitchFamily="34" charset="0"/>
              </a:rPr>
              <a:t>Confidential © ams AG</a:t>
            </a:r>
          </a:p>
          <a:p>
            <a:pPr>
              <a:defRPr/>
            </a:pPr>
            <a:r>
              <a:rPr lang="en-US" sz="800" b="1" noProof="1">
                <a:solidFill>
                  <a:srgbClr val="ACB2B7"/>
                </a:solidFill>
                <a:cs typeface="Arial" panose="020B0604020202020204" pitchFamily="34" charset="0"/>
              </a:rPr>
              <a:t>Page ‹Nr.›</a:t>
            </a:r>
            <a:endParaRPr lang="en-US" sz="800" noProof="1">
              <a:solidFill>
                <a:srgbClr val="4655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678012"/>
      </p:ext>
    </p:extLst>
  </p:cSld>
  <p:clrMapOvr>
    <a:masterClrMapping/>
  </p:clrMapOvr>
  <p:hf hdr="0" ft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Closing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1">
            <a:extLst>
              <a:ext uri="{FF2B5EF4-FFF2-40B4-BE49-F238E27FC236}">
                <a16:creationId xmlns:a16="http://schemas.microsoft.com/office/drawing/2014/main" id="{BA48C2C7-6056-4949-B388-3AA145AB9844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62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2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8BC3794-3DBD-4B4B-A77B-031751405A4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595474" y="4947682"/>
            <a:ext cx="5755222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x-none" sz="16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907956" y="2865113"/>
            <a:ext cx="637608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0" b="1" i="0" kern="1200" dirty="0">
                <a:solidFill>
                  <a:schemeClr val="tx2"/>
                </a:solidFill>
                <a:effectLst/>
                <a:latin typeface="Arial" charset="0"/>
                <a:ea typeface="+mn-ea"/>
                <a:cs typeface="+mn-cs"/>
              </a:rPr>
              <a:t>Thank</a:t>
            </a:r>
            <a:r>
              <a:rPr lang="en-US" sz="6000" b="1" i="0" kern="1200" baseline="0" dirty="0">
                <a:solidFill>
                  <a:schemeClr val="tx2"/>
                </a:solidFill>
                <a:effectLst/>
                <a:latin typeface="Arial" charset="0"/>
                <a:ea typeface="+mn-ea"/>
                <a:cs typeface="+mn-cs"/>
              </a:rPr>
              <a:t> you!</a:t>
            </a:r>
            <a:endParaRPr lang="en-US" sz="6000" b="1" i="0" kern="1200" dirty="0">
              <a:solidFill>
                <a:schemeClr val="tx2"/>
              </a:solidFill>
              <a:effectLst/>
              <a:latin typeface="Arial" charset="0"/>
              <a:ea typeface="+mn-ea"/>
              <a:cs typeface="+mn-cs"/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1385" y="402799"/>
            <a:ext cx="1486967" cy="282852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50617" y="307900"/>
            <a:ext cx="2466894" cy="392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190109"/>
      </p:ext>
    </p:extLst>
  </p:cSld>
  <p:clrMapOvr>
    <a:masterClrMapping/>
  </p:clrMapOvr>
  <p:hf hdr="0" ft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595474" y="2812849"/>
            <a:ext cx="5755222" cy="502445"/>
          </a:xfrm>
          <a:prstGeom prst="rect">
            <a:avLst/>
          </a:prstGeom>
        </p:spPr>
        <p:txBody>
          <a:bodyPr anchor="b"/>
          <a:lstStyle>
            <a:lvl1pPr>
              <a:defRPr lang="x-none" sz="3600" b="0" baseline="0">
                <a:solidFill>
                  <a:schemeClr val="tx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595474" y="4011145"/>
            <a:ext cx="5755222" cy="33855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600" cap="none" baseline="0">
                <a:solidFill>
                  <a:schemeClr val="tx2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64812849"/>
      </p:ext>
    </p:extLst>
  </p:cSld>
  <p:clrMapOvr>
    <a:masterClrMapping/>
  </p:clrMapOvr>
  <p:hf hdr="0" ftr="0" dt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Lef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Headline"/>
          <p:cNvSpPr>
            <a:spLocks noGrp="1"/>
          </p:cNvSpPr>
          <p:nvPr>
            <p:ph type="body" sz="quarter" idx="10"/>
          </p:nvPr>
        </p:nvSpPr>
        <p:spPr>
          <a:xfrm>
            <a:off x="304800" y="2590800"/>
            <a:ext cx="1828800" cy="2062103"/>
          </a:xfrm>
        </p:spPr>
        <p:txBody>
          <a:bodyPr wrap="square" lIns="90000" anchor="ctr">
            <a:spAutoFit/>
          </a:bodyPr>
          <a:lstStyle>
            <a:lvl1pPr algn="ctr">
              <a:defRPr sz="3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743200" y="365125"/>
            <a:ext cx="7167600" cy="579600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9355865"/>
      </p:ext>
    </p:extLst>
  </p:cSld>
  <p:clrMapOvr>
    <a:masterClrMapping/>
  </p:clrMapOvr>
  <p:hf hdr="0" ft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1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line"/>
          <p:cNvSpPr>
            <a:spLocks noGrp="1"/>
          </p:cNvSpPr>
          <p:nvPr>
            <p:ph type="body" sz="quarter" idx="11" hasCustomPrompt="1"/>
          </p:nvPr>
        </p:nvSpPr>
        <p:spPr>
          <a:xfrm>
            <a:off x="576263" y="942751"/>
            <a:ext cx="9336162" cy="322085"/>
          </a:xfrm>
          <a:prstGeom prst="rect">
            <a:avLst/>
          </a:prstGeom>
        </p:spPr>
        <p:txBody>
          <a:bodyPr lIns="0" tIns="0"/>
          <a:lstStyle>
            <a:lvl1pPr>
              <a:defRPr sz="1800" b="1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add subline</a:t>
            </a:r>
          </a:p>
        </p:txBody>
      </p:sp>
      <p:sp>
        <p:nvSpPr>
          <p:cNvPr id="8" name="Headlin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35811057"/>
      </p:ext>
    </p:extLst>
  </p:cSld>
  <p:clrMapOvr>
    <a:masterClrMapping/>
  </p:clrMapOvr>
  <p:hf hdr="0" ft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Glob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1">
            <a:extLst>
              <a:ext uri="{FF2B5EF4-FFF2-40B4-BE49-F238E27FC236}">
                <a16:creationId xmlns:a16="http://schemas.microsoft.com/office/drawing/2014/main" id="{496CF846-3C31-CB49-9AC0-AABD9458F89A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242"/>
            <a:ext cx="12192000" cy="6858000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62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2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8BC3794-3DBD-4B4B-A77B-031751405A4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551385" y="2579645"/>
            <a:ext cx="8509686" cy="677108"/>
          </a:xfrm>
          <a:prstGeom prst="rect">
            <a:avLst/>
          </a:prstGeom>
        </p:spPr>
        <p:txBody>
          <a:bodyPr anchor="t"/>
          <a:lstStyle>
            <a:lvl1pPr algn="l">
              <a:defRPr lang="x-none" sz="4400" b="0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x-none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551385" y="3247840"/>
            <a:ext cx="8509686" cy="430887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lang="x-none" sz="2800" cap="none" baseline="0">
                <a:solidFill>
                  <a:schemeClr val="accent4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x-none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595474" y="4947682"/>
            <a:ext cx="5755222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x-none" sz="16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9420436" y="5284395"/>
            <a:ext cx="2220179" cy="184666"/>
          </a:xfrm>
        </p:spPr>
        <p:txBody>
          <a:bodyPr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mm/</a:t>
            </a:r>
            <a:r>
              <a:rPr lang="en-US" dirty="0" err="1"/>
              <a:t>yyyy</a:t>
            </a:r>
            <a:endParaRPr lang="en-US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551385" y="4867075"/>
            <a:ext cx="3992040" cy="307777"/>
          </a:xfrm>
        </p:spPr>
        <p:txBody>
          <a:bodyPr/>
          <a:lstStyle>
            <a:lvl1pPr algn="l"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err="1"/>
              <a:t>Firstname</a:t>
            </a:r>
            <a:r>
              <a:rPr lang="en-US" dirty="0"/>
              <a:t> </a:t>
            </a:r>
            <a:r>
              <a:rPr lang="en-US" dirty="0" err="1"/>
              <a:t>Lastname</a:t>
            </a:r>
            <a:endParaRPr lang="en-US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51385" y="5284395"/>
            <a:ext cx="3992040" cy="554430"/>
          </a:xfrm>
        </p:spPr>
        <p:txBody>
          <a:bodyPr/>
          <a:lstStyle>
            <a:lvl1pPr algn="l">
              <a:defRPr sz="12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Job Title, Legal Entity</a:t>
            </a: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1385" y="402799"/>
            <a:ext cx="1486967" cy="282852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50617" y="307900"/>
            <a:ext cx="2466894" cy="392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820608"/>
      </p:ext>
    </p:extLst>
  </p:cSld>
  <p:clrMapOvr>
    <a:masterClrMapping/>
  </p:clrMapOvr>
  <p:hf hdr="0" ft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Left Image">
    <p:bg>
      <p:bgPr>
        <a:solidFill>
          <a:schemeClr val="tx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3771900"/>
            <a:ext cx="12192000" cy="30861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62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2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8BC3794-3DBD-4B4B-A77B-031751405A4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595474" y="4947682"/>
            <a:ext cx="5755222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762000" y="2590800"/>
            <a:ext cx="10591800" cy="579600"/>
          </a:xfrm>
        </p:spPr>
        <p:txBody>
          <a:bodyPr/>
          <a:lstStyle>
            <a:lvl1pPr algn="l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762000" y="4419600"/>
            <a:ext cx="10591800" cy="1676400"/>
          </a:xfrm>
        </p:spPr>
        <p:txBody>
          <a:bodyPr/>
          <a:lstStyle>
            <a:lvl2pPr marL="468000" indent="-285750">
              <a:buFont typeface="Wingdings" panose="05000000000000000000" pitchFamily="2" charset="2"/>
              <a:buChar char="§"/>
              <a:defRPr/>
            </a:lvl2pPr>
            <a:lvl3pPr marL="648000" indent="-284400">
              <a:buFont typeface="Arial" panose="020B0604020202020204" pitchFamily="34" charset="0"/>
              <a:buChar char="•"/>
              <a:defRPr/>
            </a:lvl3pPr>
            <a:lvl5pPr marL="1008000" indent="-284400">
              <a:buFont typeface="Courier New" panose="02070309020205020404" pitchFamily="49" charset="0"/>
              <a:buChar char="o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5"/>
          <p:cNvSpPr txBox="1">
            <a:spLocks/>
          </p:cNvSpPr>
          <p:nvPr/>
        </p:nvSpPr>
        <p:spPr>
          <a:xfrm>
            <a:off x="762000" y="3284700"/>
            <a:ext cx="10591800" cy="372900"/>
          </a:xfrm>
          <a:prstGeom prst="rect">
            <a:avLst/>
          </a:prstGeom>
        </p:spPr>
        <p:txBody>
          <a:bodyPr vert="horz" wrap="none" lIns="0" tIns="45720" rIns="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600" kern="1200" baseline="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  <a:lvl5pPr eaLnBrk="1" hangingPunct="1">
              <a:defRPr/>
            </a:lvl5pPr>
          </a:lstStyle>
          <a:p>
            <a:r>
              <a:rPr lang="en-US" sz="1800" dirty="0"/>
              <a:t>Click to edit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186365990"/>
      </p:ext>
    </p:extLst>
  </p:cSld>
  <p:clrMapOvr>
    <a:masterClrMapping/>
  </p:clrMapOvr>
  <p:hf hdr="0" ft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Lef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lowchart: Process 2"/>
          <p:cNvSpPr/>
          <p:nvPr/>
        </p:nvSpPr>
        <p:spPr>
          <a:xfrm>
            <a:off x="0" y="0"/>
            <a:ext cx="2438400" cy="6858000"/>
          </a:xfrm>
          <a:prstGeom prst="flowChartProcess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Headline"/>
          <p:cNvSpPr>
            <a:spLocks noGrp="1"/>
          </p:cNvSpPr>
          <p:nvPr>
            <p:ph type="body" sz="quarter" idx="10"/>
          </p:nvPr>
        </p:nvSpPr>
        <p:spPr>
          <a:xfrm>
            <a:off x="304800" y="2590800"/>
            <a:ext cx="1828800" cy="2062103"/>
          </a:xfrm>
        </p:spPr>
        <p:txBody>
          <a:bodyPr wrap="square" lIns="90000" anchor="ctr">
            <a:spAutoFit/>
          </a:bodyPr>
          <a:lstStyle>
            <a:lvl1pPr algn="ctr">
              <a:defRPr sz="3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743200" y="365125"/>
            <a:ext cx="7167600" cy="579600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2213378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-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8E59B19A-4E25-7241-AE68-CEEEB6352B2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9"/>
            <a:ext cx="12192000" cy="6856781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9902292-52BF-8142-94C1-BBF62D6DFACC}"/>
              </a:ext>
            </a:extLst>
          </p:cNvPr>
          <p:cNvSpPr txBox="1"/>
          <p:nvPr userDrawn="1"/>
        </p:nvSpPr>
        <p:spPr>
          <a:xfrm>
            <a:off x="550899" y="6491809"/>
            <a:ext cx="25310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fld id="{334DA5DD-9C8C-6E48-9733-9F5D468F39D5}" type="slidenum">
              <a:rPr lang="en-DE"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DE" sz="9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158E6C7-66E4-534E-800A-28B0FEBBE9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6670" y="2660673"/>
            <a:ext cx="11076174" cy="1534988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4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hapter divider or key statement</a:t>
            </a:r>
            <a:endParaRPr lang="en-DE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7D10E65-885A-E24D-81E4-59B281ADEE2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378163" y="6462896"/>
            <a:ext cx="1244681" cy="133350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A30B874-7382-9F42-AF09-FF058D42529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DE">
                <a:latin typeface="Arial" panose="020B0604020202020204" pitchFamily="34" charset="0"/>
                <a:cs typeface="Arial" panose="020B0604020202020204" pitchFamily="34" charset="0"/>
              </a:rPr>
              <a:t>For internal use</a:t>
            </a:r>
          </a:p>
        </p:txBody>
      </p:sp>
    </p:spTree>
    <p:extLst>
      <p:ext uri="{BB962C8B-B14F-4D97-AF65-F5344CB8AC3E}">
        <p14:creationId xmlns:p14="http://schemas.microsoft.com/office/powerpoint/2010/main" val="136403375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Lef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2578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62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2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8BC3794-3DBD-4B4B-A77B-031751405A4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595474" y="4947682"/>
            <a:ext cx="5755222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5638800" y="609600"/>
            <a:ext cx="5867400" cy="579600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5638800" y="1905000"/>
            <a:ext cx="5867400" cy="4419600"/>
          </a:xfrm>
        </p:spPr>
        <p:txBody>
          <a:bodyPr/>
          <a:lstStyle>
            <a:lvl2pPr marL="468000" indent="-285750">
              <a:buFont typeface="Wingdings" panose="05000000000000000000" pitchFamily="2" charset="2"/>
              <a:buChar char="§"/>
              <a:defRPr/>
            </a:lvl2pPr>
            <a:lvl3pPr marL="648000" indent="-284400">
              <a:buFont typeface="Arial" panose="020B0604020202020204" pitchFamily="34" charset="0"/>
              <a:buChar char="•"/>
              <a:defRPr/>
            </a:lvl3pPr>
            <a:lvl4pPr marL="828000" indent="-284400">
              <a:buFont typeface="Wingdings" panose="05000000000000000000" pitchFamily="2" charset="2"/>
              <a:buChar char="Ø"/>
              <a:defRPr/>
            </a:lvl4pPr>
            <a:lvl5pPr marL="1008000" indent="-284400">
              <a:buFont typeface="Courier New" panose="02070309020205020404" pitchFamily="49" charset="0"/>
              <a:buChar char="o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itle 5"/>
          <p:cNvSpPr txBox="1">
            <a:spLocks/>
          </p:cNvSpPr>
          <p:nvPr/>
        </p:nvSpPr>
        <p:spPr>
          <a:xfrm>
            <a:off x="5638800" y="1228725"/>
            <a:ext cx="5867400" cy="371475"/>
          </a:xfrm>
          <a:prstGeom prst="rect">
            <a:avLst/>
          </a:prstGeom>
        </p:spPr>
        <p:txBody>
          <a:bodyPr vert="horz" wrap="none" lIns="0" tIns="45720" rIns="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kern="1200" baseline="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  <a:lvl5pPr eaLnBrk="1" hangingPunct="1">
              <a:defRPr/>
            </a:lvl5pPr>
          </a:lstStyle>
          <a:p>
            <a:r>
              <a:rPr lang="en-US" sz="1800" dirty="0"/>
              <a:t>Click to edit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65025414"/>
      </p:ext>
    </p:extLst>
  </p:cSld>
  <p:clrMapOvr>
    <a:masterClrMapping/>
  </p:clrMapOvr>
  <p:hf hdr="0" ft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Slid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6" progId="TCLayout.ActiveDocument.1">
                  <p:embed/>
                </p:oleObj>
              </mc:Choice>
              <mc:Fallback>
                <p:oleObj name="think-cell Slide" r:id="rId3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 hasCustomPrompt="1"/>
          </p:nvPr>
        </p:nvSpPr>
        <p:spPr bwMode="gray">
          <a:xfrm>
            <a:off x="600073" y="234866"/>
            <a:ext cx="9039227" cy="488164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Headline</a:t>
            </a:r>
            <a:endParaRPr lang="x-none" dirty="0"/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58003" y="51835"/>
            <a:ext cx="123156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26"/>
            <a:endParaRPr lang="x-none" sz="61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600073" y="728856"/>
            <a:ext cx="9039227" cy="246221"/>
          </a:xfrm>
        </p:spPr>
        <p:txBody>
          <a:bodyPr/>
          <a:lstStyle>
            <a:lvl1pPr>
              <a:defRPr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Click to add Subline</a:t>
            </a:r>
          </a:p>
        </p:txBody>
      </p:sp>
      <p:sp>
        <p:nvSpPr>
          <p:cNvPr id="10" name="Bodytext"/>
          <p:cNvSpPr>
            <a:spLocks noGrp="1"/>
          </p:cNvSpPr>
          <p:nvPr>
            <p:ph sz="quarter" idx="14" hasCustomPrompt="1"/>
          </p:nvPr>
        </p:nvSpPr>
        <p:spPr>
          <a:xfrm>
            <a:off x="600072" y="1194894"/>
            <a:ext cx="10991853" cy="5184306"/>
          </a:xfrm>
        </p:spPr>
        <p:txBody>
          <a:bodyPr>
            <a:noAutofit/>
          </a:bodyPr>
          <a:lstStyle>
            <a:lvl2pPr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7059960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7489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701">
          <p15:clr>
            <a:srgbClr val="F26B43"/>
          </p15:clr>
        </p15:guide>
        <p15:guide id="4" orient="horz" pos="3991">
          <p15:clr>
            <a:srgbClr val="F26B43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6" progId="TCLayout.ActiveDocument.1">
                  <p:embed/>
                </p:oleObj>
              </mc:Choice>
              <mc:Fallback>
                <p:oleObj name="think-cell Slide" r:id="rId3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58003" y="51835"/>
            <a:ext cx="123156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26"/>
            <a:endParaRPr lang="x-none" sz="61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743018514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7489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701">
          <p15:clr>
            <a:srgbClr val="F26B43"/>
          </p15:clr>
        </p15:guide>
        <p15:guide id="4" orient="horz" pos="3991">
          <p15:clr>
            <a:srgbClr val="F26B43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SG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G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CB202B4-4EAC-40E6-B63D-4637600ED756}" type="datetimeFigureOut">
              <a:rPr lang="en-SG" smtClean="0"/>
              <a:t>12/6/2025</a:t>
            </a:fld>
            <a:endParaRPr lang="en-SG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SG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en-US" sz="800" b="1" noProof="1">
                <a:solidFill>
                  <a:srgbClr val="ACB2B7"/>
                </a:solidFill>
                <a:cs typeface="Arial" panose="020B0604020202020204" pitchFamily="34" charset="0"/>
              </a:rPr>
              <a:t>Confidential © ams AG</a:t>
            </a:r>
          </a:p>
          <a:p>
            <a:pPr>
              <a:defRPr/>
            </a:pPr>
            <a:r>
              <a:rPr lang="en-US" sz="800" b="1" noProof="1">
                <a:solidFill>
                  <a:srgbClr val="ACB2B7"/>
                </a:solidFill>
                <a:cs typeface="Arial" panose="020B0604020202020204" pitchFamily="34" charset="0"/>
              </a:rPr>
              <a:t>Page ‹Nr.›</a:t>
            </a:r>
            <a:endParaRPr lang="en-US" sz="800" noProof="1">
              <a:solidFill>
                <a:srgbClr val="4655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5804420"/>
      </p:ext>
    </p:extLst>
  </p:cSld>
  <p:clrMapOvr>
    <a:masterClrMapping/>
  </p:clrMapOvr>
  <p:hf hdr="0" ftr="0" dt="0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ED9C8-F09A-4D9E-BEC0-4725162E21FF}" type="datetimeFigureOut">
              <a:rPr lang="en-US" smtClean="0"/>
              <a:t>6/12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 sz="800" b="1" noProof="1">
                <a:solidFill>
                  <a:srgbClr val="ACB2B7"/>
                </a:solidFill>
                <a:cs typeface="Arial" panose="020B0604020202020204" pitchFamily="34" charset="0"/>
              </a:rPr>
              <a:t>Confidential © ams AG</a:t>
            </a:r>
          </a:p>
          <a:p>
            <a:pPr>
              <a:defRPr/>
            </a:pPr>
            <a:r>
              <a:rPr lang="en-US" sz="800" b="1" noProof="1">
                <a:solidFill>
                  <a:srgbClr val="ACB2B7"/>
                </a:solidFill>
                <a:cs typeface="Arial" panose="020B0604020202020204" pitchFamily="34" charset="0"/>
              </a:rPr>
              <a:t>Page ‹Nr.›</a:t>
            </a:r>
            <a:endParaRPr lang="en-US" sz="800" noProof="1">
              <a:solidFill>
                <a:srgbClr val="4655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4093054"/>
      </p:ext>
    </p:extLst>
  </p:cSld>
  <p:clrMapOvr>
    <a:masterClrMapping/>
  </p:clrMapOvr>
  <p:hf hdr="0" ftr="0" dt="0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Closing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1">
            <a:extLst>
              <a:ext uri="{FF2B5EF4-FFF2-40B4-BE49-F238E27FC236}">
                <a16:creationId xmlns:a16="http://schemas.microsoft.com/office/drawing/2014/main" id="{BA48C2C7-6056-4949-B388-3AA145AB9844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62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2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8BC3794-3DBD-4B4B-A77B-031751405A4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595474" y="4947682"/>
            <a:ext cx="5755222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x-none" sz="16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907956" y="2865113"/>
            <a:ext cx="637608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0" b="1" i="0" kern="1200" dirty="0">
                <a:solidFill>
                  <a:schemeClr val="tx2"/>
                </a:solidFill>
                <a:effectLst/>
                <a:latin typeface="Arial" charset="0"/>
                <a:ea typeface="+mn-ea"/>
                <a:cs typeface="+mn-cs"/>
              </a:rPr>
              <a:t>Thank</a:t>
            </a:r>
            <a:r>
              <a:rPr lang="en-US" sz="6000" b="1" i="0" kern="1200" baseline="0" dirty="0">
                <a:solidFill>
                  <a:schemeClr val="tx2"/>
                </a:solidFill>
                <a:effectLst/>
                <a:latin typeface="Arial" charset="0"/>
                <a:ea typeface="+mn-ea"/>
                <a:cs typeface="+mn-cs"/>
              </a:rPr>
              <a:t> you!</a:t>
            </a:r>
            <a:endParaRPr lang="en-US" sz="6000" b="1" i="0" kern="1200" dirty="0">
              <a:solidFill>
                <a:schemeClr val="tx2"/>
              </a:solidFill>
              <a:effectLst/>
              <a:latin typeface="Arial" charset="0"/>
              <a:ea typeface="+mn-ea"/>
              <a:cs typeface="+mn-cs"/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1385" y="402799"/>
            <a:ext cx="1486967" cy="282852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50617" y="307900"/>
            <a:ext cx="2466894" cy="392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4738714"/>
      </p:ext>
    </p:extLst>
  </p:cSld>
  <p:clrMapOvr>
    <a:masterClrMapping/>
  </p:clrMapOvr>
  <p:hf hdr="0" ftr="0" dt="0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595474" y="2812849"/>
            <a:ext cx="5755222" cy="502445"/>
          </a:xfrm>
          <a:prstGeom prst="rect">
            <a:avLst/>
          </a:prstGeom>
        </p:spPr>
        <p:txBody>
          <a:bodyPr anchor="b"/>
          <a:lstStyle>
            <a:lvl1pPr>
              <a:defRPr lang="x-none" sz="3600" b="0" baseline="0">
                <a:solidFill>
                  <a:schemeClr val="tx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595474" y="4011145"/>
            <a:ext cx="5755222" cy="33855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600" cap="none" baseline="0">
                <a:solidFill>
                  <a:schemeClr val="tx2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98214832"/>
      </p:ext>
    </p:extLst>
  </p:cSld>
  <p:clrMapOvr>
    <a:masterClrMapping/>
  </p:clrMapOvr>
  <p:hf hdr="0" ftr="0" dt="0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Lef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Headline"/>
          <p:cNvSpPr>
            <a:spLocks noGrp="1"/>
          </p:cNvSpPr>
          <p:nvPr>
            <p:ph type="body" sz="quarter" idx="10"/>
          </p:nvPr>
        </p:nvSpPr>
        <p:spPr>
          <a:xfrm>
            <a:off x="304800" y="2590800"/>
            <a:ext cx="1828800" cy="2062103"/>
          </a:xfrm>
        </p:spPr>
        <p:txBody>
          <a:bodyPr wrap="square" lIns="90000" anchor="ctr">
            <a:spAutoFit/>
          </a:bodyPr>
          <a:lstStyle>
            <a:lvl1pPr algn="ctr">
              <a:defRPr sz="3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743200" y="365125"/>
            <a:ext cx="7167600" cy="579600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6962879"/>
      </p:ext>
    </p:extLst>
  </p:cSld>
  <p:clrMapOvr>
    <a:masterClrMapping/>
  </p:clrMapOvr>
  <p:hf hdr="0" ftr="0" dt="0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1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line"/>
          <p:cNvSpPr>
            <a:spLocks noGrp="1"/>
          </p:cNvSpPr>
          <p:nvPr>
            <p:ph type="body" sz="quarter" idx="11" hasCustomPrompt="1"/>
          </p:nvPr>
        </p:nvSpPr>
        <p:spPr>
          <a:xfrm>
            <a:off x="576263" y="942751"/>
            <a:ext cx="9336162" cy="322085"/>
          </a:xfrm>
          <a:prstGeom prst="rect">
            <a:avLst/>
          </a:prstGeom>
        </p:spPr>
        <p:txBody>
          <a:bodyPr lIns="0" tIns="0"/>
          <a:lstStyle>
            <a:lvl1pPr>
              <a:defRPr sz="1800" b="1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add subline</a:t>
            </a:r>
          </a:p>
        </p:txBody>
      </p:sp>
      <p:sp>
        <p:nvSpPr>
          <p:cNvPr id="8" name="Headlin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32069873"/>
      </p:ext>
    </p:extLst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-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631206A0-0B4F-9444-9EE3-84F82AEE5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9"/>
            <a:ext cx="12192000" cy="6856781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9902292-52BF-8142-94C1-BBF62D6DFACC}"/>
              </a:ext>
            </a:extLst>
          </p:cNvPr>
          <p:cNvSpPr txBox="1"/>
          <p:nvPr userDrawn="1"/>
        </p:nvSpPr>
        <p:spPr>
          <a:xfrm>
            <a:off x="550899" y="6491809"/>
            <a:ext cx="25310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fld id="{334DA5DD-9C8C-6E48-9733-9F5D468F39D5}" type="slidenum">
              <a:rPr lang="en-DE"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DE" sz="9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158E6C7-66E4-534E-800A-28B0FEBBE9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6670" y="2660673"/>
            <a:ext cx="11076174" cy="1534988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4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hapter divider or key statement</a:t>
            </a:r>
            <a:endParaRPr lang="en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3B9C5CF-A051-E341-8DDF-559CAC9D701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DE">
                <a:latin typeface="Arial" panose="020B0604020202020204" pitchFamily="34" charset="0"/>
                <a:cs typeface="Arial" panose="020B0604020202020204" pitchFamily="34" charset="0"/>
              </a:rPr>
              <a:t>For internal us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3288127D-2F70-5840-A648-B1A0A782A0C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378163" y="6463703"/>
            <a:ext cx="1243881" cy="133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31486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-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DB98A180-9053-8545-96CF-9BBD45FF7DE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9"/>
            <a:ext cx="12192000" cy="6856781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9902292-52BF-8142-94C1-BBF62D6DFACC}"/>
              </a:ext>
            </a:extLst>
          </p:cNvPr>
          <p:cNvSpPr txBox="1"/>
          <p:nvPr userDrawn="1"/>
        </p:nvSpPr>
        <p:spPr>
          <a:xfrm>
            <a:off x="550899" y="6491809"/>
            <a:ext cx="25310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fld id="{334DA5DD-9C8C-6E48-9733-9F5D468F39D5}" type="slidenum">
              <a:rPr lang="en-DE"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DE" sz="9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EEBB6B-553F-2546-9A64-871DA1B257E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DE">
                <a:latin typeface="Arial" panose="020B0604020202020204" pitchFamily="34" charset="0"/>
                <a:cs typeface="Arial" panose="020B0604020202020204" pitchFamily="34" charset="0"/>
              </a:rPr>
              <a:t>For internal us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40F6BCB-E808-6646-9FF4-0B425FC7FFC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378163" y="6463703"/>
            <a:ext cx="1243881" cy="133948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FEC1E179-D8B7-5F4E-8371-54D7835F4172}"/>
              </a:ext>
            </a:extLst>
          </p:cNvPr>
          <p:cNvSpPr txBox="1"/>
          <p:nvPr userDrawn="1"/>
        </p:nvSpPr>
        <p:spPr>
          <a:xfrm>
            <a:off x="550898" y="611708"/>
            <a:ext cx="1062860" cy="2431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800"/>
              </a:lnSpc>
            </a:pPr>
            <a:r>
              <a:rPr lang="en-DE" sz="240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DE65C65F-715B-424B-A898-23433DA79A1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898" y="1551170"/>
            <a:ext cx="9827265" cy="4740093"/>
          </a:xfrm>
          <a:prstGeom prst="rect">
            <a:avLst/>
          </a:prstGeom>
        </p:spPr>
        <p:txBody>
          <a:bodyPr lIns="0" tIns="0" rIns="0" bIns="0"/>
          <a:lstStyle>
            <a:lvl1pPr marL="365125" indent="-365125">
              <a:lnSpc>
                <a:spcPts val="1900"/>
              </a:lnSpc>
              <a:buFont typeface="+mj-lt"/>
              <a:buAutoNum type="arabicPeriod"/>
              <a:tabLst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91307" indent="-284163">
              <a:lnSpc>
                <a:spcPts val="1900"/>
              </a:lnSpc>
              <a:buClrTx/>
              <a:buFont typeface="System Font Regular"/>
              <a:buChar char="–"/>
              <a:tabLst/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264319" indent="-257175">
              <a:lnSpc>
                <a:spcPts val="1900"/>
              </a:lnSpc>
              <a:buFont typeface="+mj-lt"/>
              <a:buAutoNum type="arabicPeriod"/>
              <a:tabLst/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537369" indent="-246063">
              <a:lnSpc>
                <a:spcPts val="1900"/>
              </a:lnSpc>
              <a:buFont typeface="System Font Regular"/>
              <a:buChar char="–"/>
              <a:tabLst/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537369" indent="0">
              <a:lnSpc>
                <a:spcPts val="1900"/>
              </a:lnSpc>
              <a:buNone/>
              <a:tabLst/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3787441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-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76097F4E-77D3-CF4E-B267-DB73745A9EF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9"/>
            <a:ext cx="12192000" cy="6856781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9902292-52BF-8142-94C1-BBF62D6DFACC}"/>
              </a:ext>
            </a:extLst>
          </p:cNvPr>
          <p:cNvSpPr txBox="1"/>
          <p:nvPr userDrawn="1"/>
        </p:nvSpPr>
        <p:spPr>
          <a:xfrm>
            <a:off x="550899" y="6491809"/>
            <a:ext cx="25310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fld id="{334DA5DD-9C8C-6E48-9733-9F5D468F39D5}" type="slidenum">
              <a:rPr lang="en-DE"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DE" sz="9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7D10E65-885A-E24D-81E4-59B281ADEE2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378163" y="6462896"/>
            <a:ext cx="1244681" cy="133350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A30B874-7382-9F42-AF09-FF058D42529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DE">
                <a:latin typeface="Arial" panose="020B0604020202020204" pitchFamily="34" charset="0"/>
                <a:cs typeface="Arial" panose="020B0604020202020204" pitchFamily="34" charset="0"/>
              </a:rPr>
              <a:t>For internal use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CB7328C6-F30A-BF4D-87FF-AE2F16808EA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898" y="1551170"/>
            <a:ext cx="9827265" cy="4740093"/>
          </a:xfrm>
          <a:prstGeom prst="rect">
            <a:avLst/>
          </a:prstGeom>
        </p:spPr>
        <p:txBody>
          <a:bodyPr lIns="0" tIns="0" rIns="0" bIns="0"/>
          <a:lstStyle>
            <a:lvl1pPr marL="365125" indent="-365125">
              <a:lnSpc>
                <a:spcPts val="1900"/>
              </a:lnSpc>
              <a:buFont typeface="+mj-lt"/>
              <a:buAutoNum type="arabicPeriod"/>
              <a:tabLst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91307" indent="-284163">
              <a:lnSpc>
                <a:spcPts val="1900"/>
              </a:lnSpc>
              <a:buClrTx/>
              <a:buFont typeface="System Font Regular"/>
              <a:buChar char="–"/>
              <a:tabLst/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264319" indent="-257175">
              <a:lnSpc>
                <a:spcPts val="1900"/>
              </a:lnSpc>
              <a:buFont typeface="+mj-lt"/>
              <a:buAutoNum type="arabicPeriod"/>
              <a:tabLst/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537369" indent="-246063">
              <a:lnSpc>
                <a:spcPts val="1900"/>
              </a:lnSpc>
              <a:buFont typeface="System Font Regular"/>
              <a:buChar char="–"/>
              <a:tabLst/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537369" indent="0">
              <a:lnSpc>
                <a:spcPts val="1900"/>
              </a:lnSpc>
              <a:buNone/>
              <a:tabLst/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9397507-CF0B-C744-B5E6-F026FEBBB21C}"/>
              </a:ext>
            </a:extLst>
          </p:cNvPr>
          <p:cNvSpPr txBox="1"/>
          <p:nvPr userDrawn="1"/>
        </p:nvSpPr>
        <p:spPr>
          <a:xfrm>
            <a:off x="550898" y="611708"/>
            <a:ext cx="1062860" cy="2431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800"/>
              </a:lnSpc>
            </a:pPr>
            <a:r>
              <a:rPr lang="en-DE" sz="2400">
                <a:solidFill>
                  <a:schemeClr val="bg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685022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-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22CCAD27-995B-844A-90EF-81083D67F5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9"/>
            <a:ext cx="12192000" cy="6856781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9902292-52BF-8142-94C1-BBF62D6DFACC}"/>
              </a:ext>
            </a:extLst>
          </p:cNvPr>
          <p:cNvSpPr txBox="1"/>
          <p:nvPr userDrawn="1"/>
        </p:nvSpPr>
        <p:spPr>
          <a:xfrm>
            <a:off x="550899" y="6491809"/>
            <a:ext cx="25310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fld id="{334DA5DD-9C8C-6E48-9733-9F5D468F39D5}" type="slidenum">
              <a:rPr lang="en-DE"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DE" sz="9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3B9C5CF-A051-E341-8DDF-559CAC9D701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DE">
                <a:latin typeface="Arial" panose="020B0604020202020204" pitchFamily="34" charset="0"/>
                <a:cs typeface="Arial" panose="020B0604020202020204" pitchFamily="34" charset="0"/>
              </a:rPr>
              <a:t>For internal use</a:t>
            </a:r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EBA2E639-53E3-644A-88CF-4525843914F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898" y="1551170"/>
            <a:ext cx="9827265" cy="4740093"/>
          </a:xfrm>
          <a:prstGeom prst="rect">
            <a:avLst/>
          </a:prstGeom>
        </p:spPr>
        <p:txBody>
          <a:bodyPr lIns="0" tIns="0" rIns="0" bIns="0"/>
          <a:lstStyle>
            <a:lvl1pPr marL="365125" indent="-365125">
              <a:lnSpc>
                <a:spcPts val="1900"/>
              </a:lnSpc>
              <a:buFont typeface="+mj-lt"/>
              <a:buAutoNum type="arabicPeriod"/>
              <a:tabLst/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91307" indent="-284163">
              <a:lnSpc>
                <a:spcPts val="1900"/>
              </a:lnSpc>
              <a:buClrTx/>
              <a:buFont typeface="System Font Regular"/>
              <a:buChar char="–"/>
              <a:tabLst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264319" indent="-257175">
              <a:lnSpc>
                <a:spcPts val="1900"/>
              </a:lnSpc>
              <a:buFont typeface="+mj-lt"/>
              <a:buAutoNum type="arabicPeriod"/>
              <a:tabLst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537369" indent="-246063">
              <a:lnSpc>
                <a:spcPts val="1900"/>
              </a:lnSpc>
              <a:buFont typeface="System Font Regular"/>
              <a:buChar char="–"/>
              <a:tabLst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537369" indent="0">
              <a:lnSpc>
                <a:spcPts val="1900"/>
              </a:lnSpc>
              <a:buNone/>
              <a:tabLst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4CB488D-9830-B64E-9F07-ED4C4132782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378163" y="6463703"/>
            <a:ext cx="1243881" cy="133948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DB2192C8-F782-AC4F-8949-EF4270158F6E}"/>
              </a:ext>
            </a:extLst>
          </p:cNvPr>
          <p:cNvSpPr txBox="1"/>
          <p:nvPr userDrawn="1"/>
        </p:nvSpPr>
        <p:spPr>
          <a:xfrm>
            <a:off x="550898" y="611708"/>
            <a:ext cx="1062860" cy="2431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800"/>
              </a:lnSpc>
            </a:pPr>
            <a:r>
              <a:rPr lang="en-DE" sz="2400">
                <a:solidFill>
                  <a:schemeClr val="tx2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0294485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image" Target="../media/image10.png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theme" Target="../theme/theme3.xml"/><Relationship Id="rId18" Type="http://schemas.openxmlformats.org/officeDocument/2006/relationships/tags" Target="../tags/tag5.xml"/><Relationship Id="rId26" Type="http://schemas.openxmlformats.org/officeDocument/2006/relationships/tags" Target="../tags/tag13.xml"/><Relationship Id="rId3" Type="http://schemas.openxmlformats.org/officeDocument/2006/relationships/slideLayout" Target="../slideLayouts/slideLayout37.xml"/><Relationship Id="rId21" Type="http://schemas.openxmlformats.org/officeDocument/2006/relationships/tags" Target="../tags/tag8.xml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17" Type="http://schemas.openxmlformats.org/officeDocument/2006/relationships/tags" Target="../tags/tag4.xml"/><Relationship Id="rId25" Type="http://schemas.openxmlformats.org/officeDocument/2006/relationships/tags" Target="../tags/tag12.xml"/><Relationship Id="rId33" Type="http://schemas.openxmlformats.org/officeDocument/2006/relationships/image" Target="../media/image13.png"/><Relationship Id="rId2" Type="http://schemas.openxmlformats.org/officeDocument/2006/relationships/slideLayout" Target="../slideLayouts/slideLayout36.xml"/><Relationship Id="rId16" Type="http://schemas.openxmlformats.org/officeDocument/2006/relationships/tags" Target="../tags/tag3.xml"/><Relationship Id="rId20" Type="http://schemas.openxmlformats.org/officeDocument/2006/relationships/tags" Target="../tags/tag7.xml"/><Relationship Id="rId29" Type="http://schemas.openxmlformats.org/officeDocument/2006/relationships/tags" Target="../tags/tag1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24" Type="http://schemas.openxmlformats.org/officeDocument/2006/relationships/tags" Target="../tags/tag11.xml"/><Relationship Id="rId32" Type="http://schemas.openxmlformats.org/officeDocument/2006/relationships/image" Target="../media/image12.emf"/><Relationship Id="rId5" Type="http://schemas.openxmlformats.org/officeDocument/2006/relationships/slideLayout" Target="../slideLayouts/slideLayout39.xml"/><Relationship Id="rId15" Type="http://schemas.openxmlformats.org/officeDocument/2006/relationships/tags" Target="../tags/tag2.xml"/><Relationship Id="rId23" Type="http://schemas.openxmlformats.org/officeDocument/2006/relationships/tags" Target="../tags/tag10.xml"/><Relationship Id="rId28" Type="http://schemas.openxmlformats.org/officeDocument/2006/relationships/tags" Target="../tags/tag15.xml"/><Relationship Id="rId10" Type="http://schemas.openxmlformats.org/officeDocument/2006/relationships/slideLayout" Target="../slideLayouts/slideLayout44.xml"/><Relationship Id="rId19" Type="http://schemas.openxmlformats.org/officeDocument/2006/relationships/tags" Target="../tags/tag6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tags" Target="../tags/tag1.xml"/><Relationship Id="rId22" Type="http://schemas.openxmlformats.org/officeDocument/2006/relationships/tags" Target="../tags/tag9.xml"/><Relationship Id="rId27" Type="http://schemas.openxmlformats.org/officeDocument/2006/relationships/tags" Target="../tags/tag14.xml"/><Relationship Id="rId30" Type="http://schemas.openxmlformats.org/officeDocument/2006/relationships/tags" Target="../tags/tag17.xml"/><Relationship Id="rId8" Type="http://schemas.openxmlformats.org/officeDocument/2006/relationships/slideLayout" Target="../slideLayouts/slideLayout42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theme" Target="../theme/theme4.xml"/><Relationship Id="rId18" Type="http://schemas.openxmlformats.org/officeDocument/2006/relationships/tags" Target="../tags/tag32.xml"/><Relationship Id="rId26" Type="http://schemas.openxmlformats.org/officeDocument/2006/relationships/tags" Target="../tags/tag40.xml"/><Relationship Id="rId3" Type="http://schemas.openxmlformats.org/officeDocument/2006/relationships/slideLayout" Target="../slideLayouts/slideLayout49.xml"/><Relationship Id="rId21" Type="http://schemas.openxmlformats.org/officeDocument/2006/relationships/tags" Target="../tags/tag35.xml"/><Relationship Id="rId7" Type="http://schemas.openxmlformats.org/officeDocument/2006/relationships/slideLayout" Target="../slideLayouts/slideLayout53.xml"/><Relationship Id="rId12" Type="http://schemas.openxmlformats.org/officeDocument/2006/relationships/slideLayout" Target="../slideLayouts/slideLayout58.xml"/><Relationship Id="rId17" Type="http://schemas.openxmlformats.org/officeDocument/2006/relationships/tags" Target="../tags/tag31.xml"/><Relationship Id="rId25" Type="http://schemas.openxmlformats.org/officeDocument/2006/relationships/tags" Target="../tags/tag39.xml"/><Relationship Id="rId33" Type="http://schemas.openxmlformats.org/officeDocument/2006/relationships/image" Target="../media/image13.png"/><Relationship Id="rId2" Type="http://schemas.openxmlformats.org/officeDocument/2006/relationships/slideLayout" Target="../slideLayouts/slideLayout48.xml"/><Relationship Id="rId16" Type="http://schemas.openxmlformats.org/officeDocument/2006/relationships/tags" Target="../tags/tag30.xml"/><Relationship Id="rId20" Type="http://schemas.openxmlformats.org/officeDocument/2006/relationships/tags" Target="../tags/tag34.xml"/><Relationship Id="rId29" Type="http://schemas.openxmlformats.org/officeDocument/2006/relationships/tags" Target="../tags/tag43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24" Type="http://schemas.openxmlformats.org/officeDocument/2006/relationships/tags" Target="../tags/tag38.xml"/><Relationship Id="rId32" Type="http://schemas.openxmlformats.org/officeDocument/2006/relationships/image" Target="../media/image12.emf"/><Relationship Id="rId5" Type="http://schemas.openxmlformats.org/officeDocument/2006/relationships/slideLayout" Target="../slideLayouts/slideLayout51.xml"/><Relationship Id="rId15" Type="http://schemas.openxmlformats.org/officeDocument/2006/relationships/tags" Target="../tags/tag29.xml"/><Relationship Id="rId23" Type="http://schemas.openxmlformats.org/officeDocument/2006/relationships/tags" Target="../tags/tag37.xml"/><Relationship Id="rId28" Type="http://schemas.openxmlformats.org/officeDocument/2006/relationships/tags" Target="../tags/tag42.xml"/><Relationship Id="rId10" Type="http://schemas.openxmlformats.org/officeDocument/2006/relationships/slideLayout" Target="../slideLayouts/slideLayout56.xml"/><Relationship Id="rId19" Type="http://schemas.openxmlformats.org/officeDocument/2006/relationships/tags" Target="../tags/tag33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Relationship Id="rId14" Type="http://schemas.openxmlformats.org/officeDocument/2006/relationships/tags" Target="../tags/tag28.xml"/><Relationship Id="rId22" Type="http://schemas.openxmlformats.org/officeDocument/2006/relationships/tags" Target="../tags/tag36.xml"/><Relationship Id="rId27" Type="http://schemas.openxmlformats.org/officeDocument/2006/relationships/tags" Target="../tags/tag41.xml"/><Relationship Id="rId30" Type="http://schemas.openxmlformats.org/officeDocument/2006/relationships/tags" Target="../tags/tag44.xml"/><Relationship Id="rId8" Type="http://schemas.openxmlformats.org/officeDocument/2006/relationships/slideLayout" Target="../slideLayouts/slideLayout5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33DA29D-0091-E24C-81A8-B2EED03FF25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43193" y="6481636"/>
            <a:ext cx="1710239" cy="13850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900">
                <a:solidFill>
                  <a:schemeClr val="bg2"/>
                </a:solidFill>
              </a:defRPr>
            </a:lvl1pPr>
          </a:lstStyle>
          <a:p>
            <a:r>
              <a:rPr lang="en-DE">
                <a:latin typeface="Arial" panose="020B0604020202020204" pitchFamily="34" charset="0"/>
                <a:cs typeface="Arial" panose="020B0604020202020204" pitchFamily="34" charset="0"/>
              </a:rPr>
              <a:t>For internal use</a:t>
            </a:r>
          </a:p>
        </p:txBody>
      </p:sp>
    </p:spTree>
    <p:extLst>
      <p:ext uri="{BB962C8B-B14F-4D97-AF65-F5344CB8AC3E}">
        <p14:creationId xmlns:p14="http://schemas.microsoft.com/office/powerpoint/2010/main" val="31627262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53" r:id="rId2"/>
    <p:sldLayoutId id="2147483655" r:id="rId3"/>
    <p:sldLayoutId id="2147483656" r:id="rId4"/>
    <p:sldLayoutId id="2147483657" r:id="rId5"/>
    <p:sldLayoutId id="2147483658" r:id="rId6"/>
    <p:sldLayoutId id="2147483659" r:id="rId7"/>
    <p:sldLayoutId id="2147483660" r:id="rId8"/>
    <p:sldLayoutId id="2147483661" r:id="rId9"/>
    <p:sldLayoutId id="2147483652" r:id="rId10"/>
    <p:sldLayoutId id="2147483662" r:id="rId11"/>
    <p:sldLayoutId id="2147483663" r:id="rId12"/>
    <p:sldLayoutId id="2147483664" r:id="rId13"/>
    <p:sldLayoutId id="2147483665" r:id="rId14"/>
    <p:sldLayoutId id="2147483666" r:id="rId15"/>
    <p:sldLayoutId id="2147483667" r:id="rId16"/>
    <p:sldLayoutId id="2147483668" r:id="rId17"/>
    <p:sldLayoutId id="2147483669" r:id="rId18"/>
    <p:sldLayoutId id="2147483670" r:id="rId19"/>
    <p:sldLayoutId id="2147483671" r:id="rId20"/>
    <p:sldLayoutId id="2147483672" r:id="rId21"/>
    <p:sldLayoutId id="2147483673" r:id="rId22"/>
    <p:sldLayoutId id="2147483674" r:id="rId23"/>
    <p:sldLayoutId id="2147483675" r:id="rId24"/>
  </p:sldLayoutIdLst>
  <p:hf hdr="0" dt="0"/>
  <p:txStyles>
    <p:titleStyle>
      <a:lvl1pPr algn="l" defTabSz="457200" rtl="0" eaLnBrk="1" latinLnBrk="0" hangingPunct="1">
        <a:lnSpc>
          <a:spcPct val="90000"/>
        </a:lnSpc>
        <a:spcBef>
          <a:spcPct val="0"/>
        </a:spcBef>
        <a:buNone/>
        <a:defRPr sz="2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14300" indent="-114300" algn="l" defTabSz="4572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715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8001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2573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14859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7145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9431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2286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6858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9144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1430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13716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6002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8288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46" userDrawn="1">
          <p15:clr>
            <a:srgbClr val="F26B43"/>
          </p15:clr>
        </p15:guide>
        <p15:guide id="2" pos="7321" userDrawn="1">
          <p15:clr>
            <a:srgbClr val="F26B43"/>
          </p15:clr>
        </p15:guide>
        <p15:guide id="3" pos="347" userDrawn="1">
          <p15:clr>
            <a:srgbClr val="F26B43"/>
          </p15:clr>
        </p15:guide>
        <p15:guide id="4" orient="horz" pos="3963" userDrawn="1">
          <p15:clr>
            <a:srgbClr val="F26B43"/>
          </p15:clr>
        </p15:guide>
        <p15:guide id="5" orient="horz" pos="4156" userDrawn="1">
          <p15:clr>
            <a:srgbClr val="F26B43"/>
          </p15:clr>
        </p15:guide>
        <p15:guide id="6" orient="horz" pos="996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Logo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77165" y="476672"/>
            <a:ext cx="1363451" cy="568105"/>
          </a:xfrm>
          <a:prstGeom prst="rect">
            <a:avLst/>
          </a:prstGeom>
        </p:spPr>
      </p:pic>
      <p:sp>
        <p:nvSpPr>
          <p:cNvPr id="3" name="Bodytext"/>
          <p:cNvSpPr>
            <a:spLocks noGrp="1"/>
          </p:cNvSpPr>
          <p:nvPr>
            <p:ph type="body" idx="1"/>
          </p:nvPr>
        </p:nvSpPr>
        <p:spPr>
          <a:xfrm>
            <a:off x="576000" y="1555200"/>
            <a:ext cx="11026800" cy="4824000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First level</a:t>
            </a:r>
          </a:p>
          <a:p>
            <a:pPr lvl="2"/>
            <a:r>
              <a:rPr lang="en-US" noProof="0" dirty="0"/>
              <a:t>Second level</a:t>
            </a:r>
          </a:p>
          <a:p>
            <a:pPr lvl="3"/>
            <a:r>
              <a:rPr lang="en-US" noProof="0" dirty="0"/>
              <a:t>Third level</a:t>
            </a:r>
          </a:p>
          <a:p>
            <a:pPr lvl="4"/>
            <a:r>
              <a:rPr lang="en-US" noProof="0" dirty="0"/>
              <a:t>Fourth level</a:t>
            </a:r>
          </a:p>
          <a:p>
            <a:pPr lvl="5"/>
            <a:r>
              <a:rPr lang="en-US" noProof="0" dirty="0"/>
              <a:t>Fifth level</a:t>
            </a:r>
          </a:p>
        </p:txBody>
      </p:sp>
      <p:sp>
        <p:nvSpPr>
          <p:cNvPr id="4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9457200" y="6382800"/>
            <a:ext cx="2160000" cy="338554"/>
          </a:xfrm>
          <a:prstGeom prst="rect">
            <a:avLst/>
          </a:prstGeom>
        </p:spPr>
        <p:txBody>
          <a:bodyPr vert="horz" lIns="91440" tIns="45720" rIns="0" bIns="45720" rtlCol="0" anchor="t" anchorCtr="0">
            <a:sp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r>
              <a:rPr lang="en-US" sz="800" b="1" noProof="1">
                <a:solidFill>
                  <a:srgbClr val="ACB2B7"/>
                </a:solidFill>
                <a:cs typeface="Arial" panose="020B0604020202020204" pitchFamily="34" charset="0"/>
              </a:rPr>
              <a:t>Confidential © ams AG</a:t>
            </a:r>
          </a:p>
          <a:p>
            <a:pPr>
              <a:defRPr/>
            </a:pPr>
            <a:r>
              <a:rPr lang="en-US" sz="800" b="1" noProof="1">
                <a:solidFill>
                  <a:srgbClr val="ACB2B7"/>
                </a:solidFill>
                <a:cs typeface="Arial" panose="020B0604020202020204" pitchFamily="34" charset="0"/>
              </a:rPr>
              <a:t>Page ‹Nr.›</a:t>
            </a:r>
            <a:endParaRPr lang="en-US" sz="800" noProof="1">
              <a:solidFill>
                <a:srgbClr val="46555F"/>
              </a:solidFill>
            </a:endParaRPr>
          </a:p>
        </p:txBody>
      </p:sp>
      <p:sp>
        <p:nvSpPr>
          <p:cNvPr id="6" name="Headline"/>
          <p:cNvSpPr>
            <a:spLocks noGrp="1"/>
          </p:cNvSpPr>
          <p:nvPr>
            <p:ph type="title"/>
          </p:nvPr>
        </p:nvSpPr>
        <p:spPr>
          <a:xfrm>
            <a:off x="576000" y="365125"/>
            <a:ext cx="9334800" cy="579600"/>
          </a:xfrm>
          <a:prstGeom prst="rect">
            <a:avLst/>
          </a:prstGeom>
        </p:spPr>
        <p:txBody>
          <a:bodyPr vert="horz" wrap="none" lIns="0" tIns="45720" rIns="0" bIns="45720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94806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8" r:id="rId10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3300" kern="1200" baseline="0">
          <a:solidFill>
            <a:schemeClr val="tx1"/>
          </a:solidFill>
          <a:latin typeface="+mj-lt"/>
          <a:ea typeface="+mj-ea"/>
          <a:cs typeface="Arial" panose="020B0604020202020204" pitchFamily="34" charset="0"/>
        </a:defRPr>
      </a:lvl1pPr>
      <a:lvl5pPr eaLnBrk="1" hangingPunct="1">
        <a:defRPr/>
      </a:lvl5pPr>
    </p:titleStyle>
    <p:bodyStyle>
      <a:lvl1pPr marL="0" indent="0" algn="l" defTabSz="914400" rtl="0" eaLnBrk="1" latinLnBrk="0" hangingPunct="1">
        <a:spcBef>
          <a:spcPts val="360"/>
        </a:spcBef>
        <a:buFont typeface="Arial" panose="020B0604020202020204" pitchFamily="34" charset="0"/>
        <a:buNone/>
        <a:defRPr sz="1600" b="0" kern="120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468000" indent="-285750" algn="l" defTabSz="914400" rtl="0" eaLnBrk="1" latinLnBrk="0" hangingPunct="1">
        <a:spcBef>
          <a:spcPts val="360"/>
        </a:spcBef>
        <a:buClr>
          <a:schemeClr val="tx2"/>
        </a:buClr>
        <a:buFont typeface="Arial" panose="020B0604020202020204" pitchFamily="34" charset="0"/>
        <a:buChar char="•"/>
        <a:defRPr sz="1600" kern="120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648000" indent="-284400" algn="l" defTabSz="914400" rtl="0" eaLnBrk="1" latinLnBrk="0" hangingPunct="1">
        <a:spcBef>
          <a:spcPts val="360"/>
        </a:spcBef>
        <a:buClr>
          <a:schemeClr val="tx2"/>
        </a:buClr>
        <a:buFont typeface="Symbol" panose="05050102010706020507" pitchFamily="18" charset="2"/>
        <a:buChar char="-"/>
        <a:defRPr sz="1600" kern="120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828000" indent="-284400" algn="l" defTabSz="914400" rtl="0" eaLnBrk="1" latinLnBrk="0" hangingPunct="1">
        <a:spcBef>
          <a:spcPts val="360"/>
        </a:spcBef>
        <a:buClr>
          <a:schemeClr val="tx2"/>
        </a:buClr>
        <a:buFont typeface="Arial" panose="020B0604020202020204" pitchFamily="34" charset="0"/>
        <a:buChar char="»"/>
        <a:defRPr sz="1600" kern="120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1008000" indent="-284400" algn="l" defTabSz="914400" rtl="0" eaLnBrk="1" latinLnBrk="0" hangingPunct="1">
        <a:spcBef>
          <a:spcPts val="360"/>
        </a:spcBef>
        <a:buClr>
          <a:schemeClr val="tx2"/>
        </a:buClr>
        <a:buSzPct val="100000"/>
        <a:buFont typeface="Arial" panose="020B0604020202020204" pitchFamily="34" charset="0"/>
        <a:buChar char="▪"/>
        <a:defRPr sz="1600" kern="120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188000" indent="-284400" algn="l" defTabSz="914400" rtl="0" eaLnBrk="1" latinLnBrk="0" hangingPunct="1">
        <a:spcBef>
          <a:spcPts val="360"/>
        </a:spcBef>
        <a:buClr>
          <a:schemeClr val="tx2"/>
        </a:buClr>
        <a:buFont typeface="Arial" panose="020B0604020202020204" pitchFamily="34" charset="0"/>
        <a:buChar char="○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84400" algn="l" defTabSz="914400" rtl="0" eaLnBrk="1" latinLnBrk="0" hangingPunct="1">
        <a:spcBef>
          <a:spcPct val="360"/>
        </a:spcBef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84400" algn="l" defTabSz="914400" rtl="0" eaLnBrk="1" latinLnBrk="0" hangingPunct="1">
        <a:spcBef>
          <a:spcPct val="360"/>
        </a:spcBef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84400" algn="l" defTabSz="914400" rtl="0" eaLnBrk="1" latinLnBrk="0" hangingPunct="1">
        <a:spcBef>
          <a:spcPct val="360"/>
        </a:spcBef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indent="0" algn="l" defTabSz="914400" rtl="0" eaLnBrk="1" latinLnBrk="0" hangingPunct="1">
        <a:spcBef>
          <a:spcPts val="360"/>
        </a:spcBef>
        <a:buNone/>
        <a:defRPr sz="1600" b="0" kern="120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468000" indent="-285750" algn="l" defTabSz="914400" rtl="0" eaLnBrk="1" latinLnBrk="0" hangingPunct="1">
        <a:spcBef>
          <a:spcPts val="360"/>
        </a:spcBef>
        <a:buClr>
          <a:schemeClr val="tx2"/>
        </a:buClr>
        <a:buFont typeface="Arial" panose="020B0604020202020204" pitchFamily="34" charset="0"/>
        <a:buChar char="•"/>
        <a:defRPr sz="1600" kern="120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648000" indent="-284400" algn="l" defTabSz="914400" rtl="0" eaLnBrk="1" latinLnBrk="0" hangingPunct="1">
        <a:spcBef>
          <a:spcPts val="360"/>
        </a:spcBef>
        <a:buClr>
          <a:schemeClr val="tx2"/>
        </a:buClr>
        <a:buFont typeface="Symbol" panose="05050102010706020507" pitchFamily="18" charset="2"/>
        <a:buChar char="-"/>
        <a:defRPr sz="1600" kern="120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828000" indent="-284400" algn="l" defTabSz="914400" rtl="0" eaLnBrk="1" latinLnBrk="0" hangingPunct="1">
        <a:spcBef>
          <a:spcPts val="360"/>
        </a:spcBef>
        <a:buClr>
          <a:schemeClr val="tx2"/>
        </a:buClr>
        <a:buFont typeface="Arial" panose="020B0604020202020204" pitchFamily="34" charset="0"/>
        <a:buChar char="»"/>
        <a:defRPr sz="1600" kern="120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1008000" indent="-284400" algn="l" defTabSz="914400" rtl="0" eaLnBrk="1" latinLnBrk="0" hangingPunct="1">
        <a:spcBef>
          <a:spcPts val="360"/>
        </a:spcBef>
        <a:buClr>
          <a:schemeClr val="tx2"/>
        </a:buClr>
        <a:buSzPct val="100000"/>
        <a:buFont typeface="Wingdings" panose="05000000000000000000" pitchFamily="2" charset="2"/>
        <a:buChar char="§"/>
        <a:defRPr sz="1600" kern="120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188000" indent="-284400" algn="l" defTabSz="914400" rtl="0" eaLnBrk="1" latinLnBrk="0" hangingPunct="1">
        <a:spcBef>
          <a:spcPts val="360"/>
        </a:spcBef>
        <a:buClr>
          <a:schemeClr val="tx2"/>
        </a:buClr>
        <a:buFont typeface="Courier New" panose="02070309020205020404" pitchFamily="49" charset="0"/>
        <a:buChar char="o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84400" algn="l" defTabSz="914400" rtl="0" eaLnBrk="1" latinLnBrk="0" hangingPunct="1">
        <a:spcBef>
          <a:spcPct val="360"/>
        </a:spcBef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84400" algn="l" defTabSz="914400" rtl="0" eaLnBrk="1" latinLnBrk="0" hangingPunct="1">
        <a:spcBef>
          <a:spcPct val="360"/>
        </a:spcBef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84400" algn="l" defTabSz="914400" rtl="0" eaLnBrk="1" latinLnBrk="0" hangingPunct="1">
        <a:spcBef>
          <a:spcPct val="360"/>
        </a:spcBef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20">
          <p15:clr>
            <a:srgbClr val="F26B43"/>
          </p15:clr>
        </p15:guide>
        <p15:guide id="2" pos="7317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0" y="1"/>
          <a:ext cx="215979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270" imgH="270" progId="TCLayout.ActiveDocument.1">
                  <p:embed/>
                </p:oleObj>
              </mc:Choice>
              <mc:Fallback>
                <p:oleObj name="think-cell Slide" r:id="rId31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215979" cy="1619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5"/>
            </p:custDataLst>
          </p:nvPr>
        </p:nvSpPr>
        <p:spPr bwMode="auto">
          <a:xfrm>
            <a:off x="0" y="1"/>
            <a:ext cx="215979" cy="161975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x-none" sz="2176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603250" y="234866"/>
            <a:ext cx="9026525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x-none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233258" y="77303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233258" y="556168"/>
            <a:ext cx="10351235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x-none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233258" y="6437237"/>
            <a:ext cx="1172548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4138" indent="-84138">
              <a:defRPr lang="x-none"/>
            </a:pPr>
            <a:r>
              <a:rPr lang="x-none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233258" y="6641718"/>
            <a:ext cx="1068201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519113" indent="-519113" defTabSz="1218026">
              <a:tabLst/>
            </a:pPr>
            <a:r>
              <a:rPr lang="x-none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 : Source</a:t>
            </a:r>
            <a:endParaRPr lang="en-US" sz="8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371626" y="2615195"/>
            <a:ext cx="5801188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2371623" y="1915581"/>
            <a:ext cx="5801188" cy="510221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x-none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61" name="Slide Number"/>
          <p:cNvSpPr txBox="1">
            <a:spLocks/>
          </p:cNvSpPr>
          <p:nvPr/>
        </p:nvSpPr>
        <p:spPr bwMode="gray">
          <a:xfrm>
            <a:off x="11469048" y="6533387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x-none" sz="800" baseline="0" smtClean="0">
                <a:solidFill>
                  <a:schemeClr val="accent6"/>
                </a:solidFill>
              </a:rPr>
              <a:pPr lvl="0" algn="r"/>
              <a:t>‹#›</a:t>
            </a:fld>
            <a:endParaRPr lang="x-none" sz="800" baseline="0" dirty="0">
              <a:solidFill>
                <a:schemeClr val="accent6"/>
              </a:solidFill>
            </a:endParaRPr>
          </a:p>
        </p:txBody>
      </p:sp>
      <p:grpSp>
        <p:nvGrpSpPr>
          <p:cNvPr id="59" name="LegendBoxes" hidden="1"/>
          <p:cNvGrpSpPr>
            <a:grpSpLocks/>
          </p:cNvGrpSpPr>
          <p:nvPr/>
        </p:nvGrpSpPr>
        <p:grpSpPr bwMode="auto">
          <a:xfrm>
            <a:off x="11195154" y="459274"/>
            <a:ext cx="763588" cy="996951"/>
            <a:chOff x="4936" y="176"/>
            <a:chExt cx="481" cy="628"/>
          </a:xfrm>
        </p:grpSpPr>
        <p:sp>
          <p:nvSpPr>
            <p:cNvPr id="102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3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04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5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06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7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08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9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</p:grpSp>
      <p:grpSp>
        <p:nvGrpSpPr>
          <p:cNvPr id="110" name="LegendLines" hidden="1"/>
          <p:cNvGrpSpPr>
            <a:grpSpLocks/>
          </p:cNvGrpSpPr>
          <p:nvPr/>
        </p:nvGrpSpPr>
        <p:grpSpPr bwMode="auto">
          <a:xfrm>
            <a:off x="10887179" y="459274"/>
            <a:ext cx="1071563" cy="730251"/>
            <a:chOff x="4750" y="176"/>
            <a:chExt cx="675" cy="460"/>
          </a:xfrm>
        </p:grpSpPr>
        <p:sp>
          <p:nvSpPr>
            <p:cNvPr id="111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12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13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14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15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16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117" name="Sticker" hidden="1"/>
          <p:cNvGrpSpPr/>
          <p:nvPr/>
        </p:nvGrpSpPr>
        <p:grpSpPr bwMode="auto">
          <a:xfrm>
            <a:off x="11233736" y="459274"/>
            <a:ext cx="725006" cy="150811"/>
            <a:chOff x="8015769" y="285750"/>
            <a:chExt cx="725006" cy="150811"/>
          </a:xfrm>
        </p:grpSpPr>
        <p:sp>
          <p:nvSpPr>
            <p:cNvPr id="118" name="StickerRectangle"/>
            <p:cNvSpPr>
              <a:spLocks noChangeArrowheads="1"/>
            </p:cNvSpPr>
            <p:nvPr/>
          </p:nvSpPr>
          <p:spPr bwMode="auto">
            <a:xfrm>
              <a:off x="8015769" y="285750"/>
              <a:ext cx="72500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800" baseline="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19" name="AutoShape 31"/>
            <p:cNvCxnSpPr>
              <a:cxnSpLocks noChangeShapeType="1"/>
              <a:stCxn id="118" idx="2"/>
              <a:endCxn id="118" idx="4"/>
            </p:cNvCxnSpPr>
            <p:nvPr/>
          </p:nvCxnSpPr>
          <p:spPr bwMode="auto">
            <a:xfrm>
              <a:off x="801576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0" name="AutoShape 32"/>
            <p:cNvCxnSpPr>
              <a:cxnSpLocks noChangeShapeType="1"/>
              <a:stCxn id="118" idx="4"/>
              <a:endCxn id="118" idx="6"/>
            </p:cNvCxnSpPr>
            <p:nvPr/>
          </p:nvCxnSpPr>
          <p:spPr bwMode="auto">
            <a:xfrm>
              <a:off x="8015769" y="436561"/>
              <a:ext cx="7250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21" name="LegendMoons" hidden="1"/>
          <p:cNvGrpSpPr/>
          <p:nvPr/>
        </p:nvGrpSpPr>
        <p:grpSpPr bwMode="auto">
          <a:xfrm>
            <a:off x="11128312" y="459274"/>
            <a:ext cx="830430" cy="1306516"/>
            <a:chOff x="6655594" y="273840"/>
            <a:chExt cx="830430" cy="1306516"/>
          </a:xfrm>
        </p:grpSpPr>
        <p:grpSp>
          <p:nvGrpSpPr>
            <p:cNvPr id="122" name="MoonLegend1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40" name="Oval 38"/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141" name="Arc 39"/>
              <p:cNvSpPr>
                <a:spLocks noChangeAspect="1"/>
              </p:cNvSpPr>
              <p:nvPr>
                <p:custDataLst>
                  <p:tags r:id="rId3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123" name="MoonLegend2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38" name="Oval 41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139" name="Arc 42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124" name="MoonLegend4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136" name="Oval 47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137" name="Arc 48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125" name="MoonLegend5"/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134" name="Oval 50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135" name="Oval 5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sp>
          <p:nvSpPr>
            <p:cNvPr id="126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27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28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29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30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131" name="MoonLegend3"/>
            <p:cNvGrpSpPr>
              <a:grpSpLocks noChangeAspect="1"/>
            </p:cNvGrpSpPr>
            <p:nvPr>
              <p:custDataLst>
                <p:tags r:id="rId20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132" name="Oval 47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133" name="Arc 48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</p:grpSp>
      <p:sp>
        <p:nvSpPr>
          <p:cNvPr id="62" name="Footer Placeholder 3">
            <a:extLst>
              <a:ext uri="{FF2B5EF4-FFF2-40B4-BE49-F238E27FC236}">
                <a16:creationId xmlns:a16="http://schemas.microsoft.com/office/drawing/2014/main" id="{A8F49F5E-9982-43A1-8D7F-891468469D59}"/>
              </a:ext>
            </a:extLst>
          </p:cNvPr>
          <p:cNvSpPr txBox="1">
            <a:spLocks/>
          </p:cNvSpPr>
          <p:nvPr/>
        </p:nvSpPr>
        <p:spPr>
          <a:xfrm>
            <a:off x="10550565" y="6534624"/>
            <a:ext cx="85921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defPPr>
              <a:defRPr lang="en-US"/>
            </a:defPPr>
            <a:lvl1pPr marL="519113" indent="-519113" defTabSz="1218026">
              <a:tabLst/>
              <a:defRPr sz="800" baseline="0">
                <a:solidFill>
                  <a:schemeClr val="accent6"/>
                </a:solidFill>
                <a:latin typeface="+mn-lt"/>
              </a:defRPr>
            </a:lvl1pPr>
            <a:lvl2pPr marL="466454" algn="l" rtl="0" fontAlgn="base">
              <a:spcBef>
                <a:spcPct val="0"/>
              </a:spcBef>
              <a:spcAft>
                <a:spcPct val="0"/>
              </a:spcAft>
              <a:defRPr sz="1632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32909" algn="l" rtl="0" fontAlgn="base">
              <a:spcBef>
                <a:spcPct val="0"/>
              </a:spcBef>
              <a:spcAft>
                <a:spcPct val="0"/>
              </a:spcAft>
              <a:defRPr sz="1632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99362" algn="l" rtl="0" fontAlgn="base">
              <a:spcBef>
                <a:spcPct val="0"/>
              </a:spcBef>
              <a:spcAft>
                <a:spcPct val="0"/>
              </a:spcAft>
              <a:defRPr sz="1632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65817" algn="l" rtl="0" fontAlgn="base">
              <a:spcBef>
                <a:spcPct val="0"/>
              </a:spcBef>
              <a:spcAft>
                <a:spcPct val="0"/>
              </a:spcAft>
              <a:defRPr sz="1632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332271" algn="l" defTabSz="932909" rtl="0" eaLnBrk="1" latinLnBrk="0" hangingPunct="1">
              <a:defRPr sz="1632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98726" algn="l" defTabSz="932909" rtl="0" eaLnBrk="1" latinLnBrk="0" hangingPunct="1">
              <a:defRPr sz="1632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65180" algn="l" defTabSz="932909" rtl="0" eaLnBrk="1" latinLnBrk="0" hangingPunct="1">
              <a:defRPr sz="1632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731635" algn="l" defTabSz="932909" rtl="0" eaLnBrk="1" latinLnBrk="0" hangingPunct="1">
              <a:defRPr sz="1632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lvl="0" algn="r"/>
            <a:r>
              <a:rPr lang="en-US" dirty="0"/>
              <a:t>Strictly confidential</a:t>
            </a:r>
          </a:p>
        </p:txBody>
      </p:sp>
      <p:pic>
        <p:nvPicPr>
          <p:cNvPr id="64" name="Picture 63"/>
          <p:cNvPicPr>
            <a:picLocks noChangeAspect="1"/>
          </p:cNvPicPr>
          <p:nvPr/>
        </p:nvPicPr>
        <p:blipFill>
          <a:blip r:embed="rId3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50617" y="307900"/>
            <a:ext cx="2466894" cy="392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29672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</p:sldLayoutIdLst>
  <p:hf hdr="0" ftr="0" dt="0"/>
  <p:txStyles>
    <p:titleStyle>
      <a:lvl1pPr algn="l" defTabSz="1218026" rtl="0" eaLnBrk="1" fontAlgn="base" hangingPunct="1">
        <a:spcBef>
          <a:spcPct val="0"/>
        </a:spcBef>
        <a:spcAft>
          <a:spcPct val="0"/>
        </a:spcAft>
        <a:tabLst>
          <a:tab pos="367135" algn="l"/>
        </a:tabLst>
        <a:defRPr lang="x-none" sz="32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2pPr>
      <a:lvl3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3pPr>
      <a:lvl4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4pPr>
      <a:lvl5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5pPr>
      <a:lvl6pPr marL="621970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6pPr>
      <a:lvl7pPr marL="1243941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7pPr>
      <a:lvl8pPr marL="1865909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8pPr>
      <a:lvl9pPr marL="2487880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9pPr>
    </p:titleStyle>
    <p:bodyStyle>
      <a:lvl1pPr marL="0" indent="0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2024" indent="-192024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•"/>
        <a:defRPr lang="x-none" sz="1600" baseline="0">
          <a:solidFill>
            <a:schemeClr val="tx1"/>
          </a:solidFill>
          <a:latin typeface="+mn-lt"/>
        </a:defRPr>
      </a:lvl2pPr>
      <a:lvl3pPr marL="457200" indent="-265176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600" baseline="0">
          <a:solidFill>
            <a:schemeClr val="tx1"/>
          </a:solidFill>
          <a:latin typeface="+mn-lt"/>
        </a:defRPr>
      </a:lvl3pPr>
      <a:lvl4pPr marL="612648" indent="-155448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anose="020B0604020202020204" pitchFamily="34" charset="0"/>
        <a:buChar char="•"/>
        <a:defRPr lang="x-none" sz="1600" baseline="0">
          <a:solidFill>
            <a:schemeClr val="tx1"/>
          </a:solidFill>
          <a:latin typeface="+mn-lt"/>
        </a:defRPr>
      </a:lvl4pPr>
      <a:lvl5pPr marL="749808" indent="-128016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5pPr>
      <a:lvl6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6pPr>
      <a:lvl7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7pPr>
      <a:lvl8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8pPr>
      <a:lvl9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1pPr>
      <a:lvl2pPr marL="62197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2pPr>
      <a:lvl3pPr marL="124394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3pPr>
      <a:lvl4pPr marL="1865909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4pPr>
      <a:lvl5pPr marL="248788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5pPr>
      <a:lvl6pPr marL="310985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6pPr>
      <a:lvl7pPr marL="373182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7pPr>
      <a:lvl8pPr marL="435379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8pPr>
      <a:lvl9pPr marL="497576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20">
          <p15:clr>
            <a:srgbClr val="F26B43"/>
          </p15:clr>
        </p15:guide>
        <p15:guide id="2" pos="7317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0" y="1"/>
          <a:ext cx="215979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270" imgH="270" progId="TCLayout.ActiveDocument.1">
                  <p:embed/>
                </p:oleObj>
              </mc:Choice>
              <mc:Fallback>
                <p:oleObj name="think-cell Slide" r:id="rId31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215979" cy="1619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5"/>
            </p:custDataLst>
          </p:nvPr>
        </p:nvSpPr>
        <p:spPr bwMode="auto">
          <a:xfrm>
            <a:off x="0" y="1"/>
            <a:ext cx="215979" cy="161975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x-none" sz="2176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603250" y="234866"/>
            <a:ext cx="9026525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x-none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233258" y="77303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233258" y="556168"/>
            <a:ext cx="10351235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x-none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233258" y="6437237"/>
            <a:ext cx="1172548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4138" indent="-84138">
              <a:defRPr lang="x-none"/>
            </a:pPr>
            <a:r>
              <a:rPr lang="x-none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233258" y="6641718"/>
            <a:ext cx="1068201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519113" indent="-519113" defTabSz="1218026">
              <a:tabLst/>
            </a:pPr>
            <a:r>
              <a:rPr lang="x-none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 : Source</a:t>
            </a:r>
            <a:endParaRPr lang="en-US" sz="8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371626" y="2615195"/>
            <a:ext cx="5801188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2371623" y="1915581"/>
            <a:ext cx="5801188" cy="510221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x-none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61" name="Slide Number"/>
          <p:cNvSpPr txBox="1">
            <a:spLocks/>
          </p:cNvSpPr>
          <p:nvPr/>
        </p:nvSpPr>
        <p:spPr bwMode="gray">
          <a:xfrm>
            <a:off x="11469048" y="6533387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x-none" sz="800" baseline="0" smtClean="0">
                <a:solidFill>
                  <a:schemeClr val="accent6"/>
                </a:solidFill>
              </a:rPr>
              <a:pPr lvl="0" algn="r"/>
              <a:t>‹#›</a:t>
            </a:fld>
            <a:endParaRPr lang="x-none" sz="800" baseline="0" dirty="0">
              <a:solidFill>
                <a:schemeClr val="accent6"/>
              </a:solidFill>
            </a:endParaRPr>
          </a:p>
        </p:txBody>
      </p:sp>
      <p:grpSp>
        <p:nvGrpSpPr>
          <p:cNvPr id="59" name="LegendBoxes" hidden="1"/>
          <p:cNvGrpSpPr>
            <a:grpSpLocks/>
          </p:cNvGrpSpPr>
          <p:nvPr/>
        </p:nvGrpSpPr>
        <p:grpSpPr bwMode="auto">
          <a:xfrm>
            <a:off x="11195154" y="459274"/>
            <a:ext cx="763588" cy="996951"/>
            <a:chOff x="4936" y="176"/>
            <a:chExt cx="481" cy="628"/>
          </a:xfrm>
        </p:grpSpPr>
        <p:sp>
          <p:nvSpPr>
            <p:cNvPr id="102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3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04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5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06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7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08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9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</p:grpSp>
      <p:grpSp>
        <p:nvGrpSpPr>
          <p:cNvPr id="110" name="LegendLines" hidden="1"/>
          <p:cNvGrpSpPr>
            <a:grpSpLocks/>
          </p:cNvGrpSpPr>
          <p:nvPr/>
        </p:nvGrpSpPr>
        <p:grpSpPr bwMode="auto">
          <a:xfrm>
            <a:off x="10887179" y="459274"/>
            <a:ext cx="1071563" cy="730251"/>
            <a:chOff x="4750" y="176"/>
            <a:chExt cx="675" cy="460"/>
          </a:xfrm>
        </p:grpSpPr>
        <p:sp>
          <p:nvSpPr>
            <p:cNvPr id="111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12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13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14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15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16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117" name="Sticker" hidden="1"/>
          <p:cNvGrpSpPr/>
          <p:nvPr/>
        </p:nvGrpSpPr>
        <p:grpSpPr bwMode="auto">
          <a:xfrm>
            <a:off x="11233736" y="459274"/>
            <a:ext cx="725006" cy="150811"/>
            <a:chOff x="8015769" y="285750"/>
            <a:chExt cx="725006" cy="150811"/>
          </a:xfrm>
        </p:grpSpPr>
        <p:sp>
          <p:nvSpPr>
            <p:cNvPr id="118" name="StickerRectangle"/>
            <p:cNvSpPr>
              <a:spLocks noChangeArrowheads="1"/>
            </p:cNvSpPr>
            <p:nvPr/>
          </p:nvSpPr>
          <p:spPr bwMode="auto">
            <a:xfrm>
              <a:off x="8015769" y="285750"/>
              <a:ext cx="72500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800" baseline="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19" name="AutoShape 31"/>
            <p:cNvCxnSpPr>
              <a:cxnSpLocks noChangeShapeType="1"/>
              <a:stCxn id="118" idx="2"/>
              <a:endCxn id="118" idx="4"/>
            </p:cNvCxnSpPr>
            <p:nvPr/>
          </p:nvCxnSpPr>
          <p:spPr bwMode="auto">
            <a:xfrm>
              <a:off x="801576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0" name="AutoShape 32"/>
            <p:cNvCxnSpPr>
              <a:cxnSpLocks noChangeShapeType="1"/>
              <a:stCxn id="118" idx="4"/>
              <a:endCxn id="118" idx="6"/>
            </p:cNvCxnSpPr>
            <p:nvPr/>
          </p:nvCxnSpPr>
          <p:spPr bwMode="auto">
            <a:xfrm>
              <a:off x="8015769" y="436561"/>
              <a:ext cx="7250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21" name="LegendMoons" hidden="1"/>
          <p:cNvGrpSpPr/>
          <p:nvPr/>
        </p:nvGrpSpPr>
        <p:grpSpPr bwMode="auto">
          <a:xfrm>
            <a:off x="11128312" y="459274"/>
            <a:ext cx="830430" cy="1306516"/>
            <a:chOff x="6655594" y="273840"/>
            <a:chExt cx="830430" cy="1306516"/>
          </a:xfrm>
        </p:grpSpPr>
        <p:grpSp>
          <p:nvGrpSpPr>
            <p:cNvPr id="122" name="MoonLegend1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40" name="Oval 38"/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141" name="Arc 39"/>
              <p:cNvSpPr>
                <a:spLocks noChangeAspect="1"/>
              </p:cNvSpPr>
              <p:nvPr>
                <p:custDataLst>
                  <p:tags r:id="rId3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123" name="MoonLegend2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38" name="Oval 41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139" name="Arc 42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124" name="MoonLegend4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136" name="Oval 47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137" name="Arc 48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125" name="MoonLegend5"/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134" name="Oval 50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135" name="Oval 5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sp>
          <p:nvSpPr>
            <p:cNvPr id="126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27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28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29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30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131" name="MoonLegend3"/>
            <p:cNvGrpSpPr>
              <a:grpSpLocks noChangeAspect="1"/>
            </p:cNvGrpSpPr>
            <p:nvPr>
              <p:custDataLst>
                <p:tags r:id="rId20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132" name="Oval 47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133" name="Arc 48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</p:grpSp>
      <p:sp>
        <p:nvSpPr>
          <p:cNvPr id="62" name="Footer Placeholder 3">
            <a:extLst>
              <a:ext uri="{FF2B5EF4-FFF2-40B4-BE49-F238E27FC236}">
                <a16:creationId xmlns:a16="http://schemas.microsoft.com/office/drawing/2014/main" id="{A8F49F5E-9982-43A1-8D7F-891468469D59}"/>
              </a:ext>
            </a:extLst>
          </p:cNvPr>
          <p:cNvSpPr txBox="1">
            <a:spLocks/>
          </p:cNvSpPr>
          <p:nvPr/>
        </p:nvSpPr>
        <p:spPr>
          <a:xfrm>
            <a:off x="10550565" y="6534624"/>
            <a:ext cx="85921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defPPr>
              <a:defRPr lang="en-US"/>
            </a:defPPr>
            <a:lvl1pPr marL="519113" indent="-519113" defTabSz="1218026">
              <a:tabLst/>
              <a:defRPr sz="800" baseline="0">
                <a:solidFill>
                  <a:schemeClr val="accent6"/>
                </a:solidFill>
                <a:latin typeface="+mn-lt"/>
              </a:defRPr>
            </a:lvl1pPr>
            <a:lvl2pPr marL="466454" algn="l" rtl="0" fontAlgn="base">
              <a:spcBef>
                <a:spcPct val="0"/>
              </a:spcBef>
              <a:spcAft>
                <a:spcPct val="0"/>
              </a:spcAft>
              <a:defRPr sz="1632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32909" algn="l" rtl="0" fontAlgn="base">
              <a:spcBef>
                <a:spcPct val="0"/>
              </a:spcBef>
              <a:spcAft>
                <a:spcPct val="0"/>
              </a:spcAft>
              <a:defRPr sz="1632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99362" algn="l" rtl="0" fontAlgn="base">
              <a:spcBef>
                <a:spcPct val="0"/>
              </a:spcBef>
              <a:spcAft>
                <a:spcPct val="0"/>
              </a:spcAft>
              <a:defRPr sz="1632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65817" algn="l" rtl="0" fontAlgn="base">
              <a:spcBef>
                <a:spcPct val="0"/>
              </a:spcBef>
              <a:spcAft>
                <a:spcPct val="0"/>
              </a:spcAft>
              <a:defRPr sz="1632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332271" algn="l" defTabSz="932909" rtl="0" eaLnBrk="1" latinLnBrk="0" hangingPunct="1">
              <a:defRPr sz="1632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98726" algn="l" defTabSz="932909" rtl="0" eaLnBrk="1" latinLnBrk="0" hangingPunct="1">
              <a:defRPr sz="1632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65180" algn="l" defTabSz="932909" rtl="0" eaLnBrk="1" latinLnBrk="0" hangingPunct="1">
              <a:defRPr sz="1632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731635" algn="l" defTabSz="932909" rtl="0" eaLnBrk="1" latinLnBrk="0" hangingPunct="1">
              <a:defRPr sz="1632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lvl="0" algn="r"/>
            <a:r>
              <a:rPr lang="en-US" dirty="0"/>
              <a:t>Strictly confidential</a:t>
            </a:r>
          </a:p>
        </p:txBody>
      </p:sp>
      <p:pic>
        <p:nvPicPr>
          <p:cNvPr id="64" name="Picture 63"/>
          <p:cNvPicPr>
            <a:picLocks noChangeAspect="1"/>
          </p:cNvPicPr>
          <p:nvPr/>
        </p:nvPicPr>
        <p:blipFill>
          <a:blip r:embed="rId3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50617" y="307900"/>
            <a:ext cx="2466894" cy="392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94746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  <p:sldLayoutId id="2147483709" r:id="rId6"/>
    <p:sldLayoutId id="2147483710" r:id="rId7"/>
    <p:sldLayoutId id="2147483711" r:id="rId8"/>
    <p:sldLayoutId id="2147483712" r:id="rId9"/>
    <p:sldLayoutId id="2147483713" r:id="rId10"/>
    <p:sldLayoutId id="2147483714" r:id="rId11"/>
    <p:sldLayoutId id="2147483715" r:id="rId12"/>
  </p:sldLayoutIdLst>
  <p:hf hdr="0" ftr="0" dt="0"/>
  <p:txStyles>
    <p:titleStyle>
      <a:lvl1pPr algn="l" defTabSz="1218026" rtl="0" eaLnBrk="1" fontAlgn="base" hangingPunct="1">
        <a:spcBef>
          <a:spcPct val="0"/>
        </a:spcBef>
        <a:spcAft>
          <a:spcPct val="0"/>
        </a:spcAft>
        <a:tabLst>
          <a:tab pos="367135" algn="l"/>
        </a:tabLst>
        <a:defRPr lang="x-none" sz="32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2pPr>
      <a:lvl3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3pPr>
      <a:lvl4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4pPr>
      <a:lvl5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5pPr>
      <a:lvl6pPr marL="621970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6pPr>
      <a:lvl7pPr marL="1243941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7pPr>
      <a:lvl8pPr marL="1865909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8pPr>
      <a:lvl9pPr marL="2487880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9pPr>
    </p:titleStyle>
    <p:bodyStyle>
      <a:lvl1pPr marL="0" indent="0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2024" indent="-192024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•"/>
        <a:defRPr lang="x-none" sz="1600" baseline="0">
          <a:solidFill>
            <a:schemeClr val="tx1"/>
          </a:solidFill>
          <a:latin typeface="+mn-lt"/>
        </a:defRPr>
      </a:lvl2pPr>
      <a:lvl3pPr marL="457200" indent="-265176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600" baseline="0">
          <a:solidFill>
            <a:schemeClr val="tx1"/>
          </a:solidFill>
          <a:latin typeface="+mn-lt"/>
        </a:defRPr>
      </a:lvl3pPr>
      <a:lvl4pPr marL="612648" indent="-155448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anose="020B0604020202020204" pitchFamily="34" charset="0"/>
        <a:buChar char="•"/>
        <a:defRPr lang="x-none" sz="1600" baseline="0">
          <a:solidFill>
            <a:schemeClr val="tx1"/>
          </a:solidFill>
          <a:latin typeface="+mn-lt"/>
        </a:defRPr>
      </a:lvl4pPr>
      <a:lvl5pPr marL="749808" indent="-128016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5pPr>
      <a:lvl6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6pPr>
      <a:lvl7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7pPr>
      <a:lvl8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8pPr>
      <a:lvl9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1pPr>
      <a:lvl2pPr marL="62197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2pPr>
      <a:lvl3pPr marL="124394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3pPr>
      <a:lvl4pPr marL="1865909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4pPr>
      <a:lvl5pPr marL="248788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5pPr>
      <a:lvl6pPr marL="310985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6pPr>
      <a:lvl7pPr marL="373182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7pPr>
      <a:lvl8pPr marL="435379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8pPr>
      <a:lvl9pPr marL="497576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20">
          <p15:clr>
            <a:srgbClr val="F26B43"/>
          </p15:clr>
        </p15:guide>
        <p15:guide id="2" pos="731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Relationship Id="rId9" Type="http://schemas.openxmlformats.org/officeDocument/2006/relationships/image" Target="../media/image3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3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For internal us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1827163F-27C7-43AE-8497-13FA7949AC5F}"/>
              </a:ext>
            </a:extLst>
          </p:cNvPr>
          <p:cNvSpPr txBox="1">
            <a:spLocks/>
          </p:cNvSpPr>
          <p:nvPr/>
        </p:nvSpPr>
        <p:spPr>
          <a:xfrm>
            <a:off x="1085669" y="679835"/>
            <a:ext cx="10058400" cy="1450757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4400" dirty="0"/>
              <a:t>Profi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FA72983-9E35-44AD-AFD9-F7270449A5BA}"/>
              </a:ext>
            </a:extLst>
          </p:cNvPr>
          <p:cNvSpPr txBox="1"/>
          <p:nvPr/>
        </p:nvSpPr>
        <p:spPr>
          <a:xfrm>
            <a:off x="5220141" y="2130592"/>
            <a:ext cx="5361673" cy="331887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  <a:buClr>
                <a:schemeClr val="accent1"/>
              </a:buClr>
              <a:buFont typeface="Calibri" panose="020F0502020204030204" pitchFamily="34" charset="0"/>
            </a:pP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tern Name:   Kobe Chang Ze Rui</a:t>
            </a:r>
          </a:p>
          <a:p>
            <a:pPr>
              <a:lnSpc>
                <a:spcPct val="90000"/>
              </a:lnSpc>
              <a:spcAft>
                <a:spcPts val="600"/>
              </a:spcAft>
              <a:buClr>
                <a:schemeClr val="accent1"/>
              </a:buClr>
              <a:buFont typeface="Calibri" panose="020F0502020204030204" pitchFamily="34" charset="0"/>
            </a:pPr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>
              <a:lnSpc>
                <a:spcPct val="90000"/>
              </a:lnSpc>
              <a:spcAft>
                <a:spcPts val="600"/>
              </a:spcAft>
              <a:buClr>
                <a:schemeClr val="accent1"/>
              </a:buClr>
              <a:buFont typeface="Calibri" panose="020F0502020204030204" pitchFamily="34" charset="0"/>
            </a:pP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stitution :  </a:t>
            </a:r>
            <a:r>
              <a:rPr lang="en-US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masek</a:t>
            </a: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Polytechnic</a:t>
            </a:r>
          </a:p>
          <a:p>
            <a:pPr>
              <a:lnSpc>
                <a:spcPct val="90000"/>
              </a:lnSpc>
              <a:spcAft>
                <a:spcPts val="600"/>
              </a:spcAft>
              <a:buClr>
                <a:schemeClr val="accent1"/>
              </a:buClr>
              <a:buFont typeface="Calibri" panose="020F0502020204030204" pitchFamily="34" charset="0"/>
            </a:pPr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>
              <a:lnSpc>
                <a:spcPct val="90000"/>
              </a:lnSpc>
              <a:spcAft>
                <a:spcPts val="600"/>
              </a:spcAft>
              <a:buClr>
                <a:schemeClr val="accent1"/>
              </a:buClr>
              <a:buFont typeface="Calibri" panose="020F0502020204030204" pitchFamily="34" charset="0"/>
            </a:pP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ternship Period: 5 July 2020 – 30 Jan 2021</a:t>
            </a:r>
          </a:p>
          <a:p>
            <a:pPr>
              <a:lnSpc>
                <a:spcPct val="90000"/>
              </a:lnSpc>
              <a:spcAft>
                <a:spcPts val="600"/>
              </a:spcAft>
              <a:buClr>
                <a:schemeClr val="accent1"/>
              </a:buClr>
              <a:buFont typeface="Calibri" panose="020F0502020204030204" pitchFamily="34" charset="0"/>
            </a:pPr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>
              <a:lnSpc>
                <a:spcPct val="90000"/>
              </a:lnSpc>
              <a:spcAft>
                <a:spcPts val="600"/>
              </a:spcAft>
              <a:buClr>
                <a:schemeClr val="accent1"/>
              </a:buClr>
              <a:buFont typeface="Calibri" panose="020F0502020204030204" pitchFamily="34" charset="0"/>
            </a:pP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epartment: Research &amp; Development</a:t>
            </a:r>
          </a:p>
          <a:p>
            <a:pPr>
              <a:lnSpc>
                <a:spcPct val="90000"/>
              </a:lnSpc>
              <a:spcAft>
                <a:spcPts val="600"/>
              </a:spcAft>
              <a:buClr>
                <a:schemeClr val="accent1"/>
              </a:buClr>
              <a:buFont typeface="Calibri" panose="020F0502020204030204" pitchFamily="34" charset="0"/>
            </a:pPr>
            <a:endParaRPr lang="en-US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>
              <a:lnSpc>
                <a:spcPct val="90000"/>
              </a:lnSpc>
              <a:spcAft>
                <a:spcPts val="600"/>
              </a:spcAft>
              <a:buClr>
                <a:schemeClr val="accent1"/>
              </a:buClr>
              <a:buFont typeface="Calibri" panose="020F0502020204030204" pitchFamily="34" charset="0"/>
            </a:pP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roject &amp; Deliverables: MTF GUI &amp; Others</a:t>
            </a:r>
          </a:p>
        </p:txBody>
      </p:sp>
      <p:sp>
        <p:nvSpPr>
          <p:cNvPr id="5" name="AutoShape 4" descr="blob:https://web.whatsapp.com/75ab68ff-68cf-48c9-8ebc-83569402337c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669" y="2347722"/>
            <a:ext cx="1992868" cy="3101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180086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jor Achievements, Challenges and Key Learning Point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Major Achievements throughout Internship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550898" y="1288578"/>
            <a:ext cx="11071946" cy="4740093"/>
          </a:xfrm>
        </p:spPr>
        <p:txBody>
          <a:bodyPr/>
          <a:lstStyle/>
          <a:p>
            <a:r>
              <a:rPr lang="en-US" sz="1200" b="1" u="sng" dirty="0"/>
              <a:t>Major Achievements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200" dirty="0"/>
              <a:t>Learned to apply Python algorithms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200" dirty="0"/>
              <a:t>Learned VBA &amp; Python </a:t>
            </a:r>
            <a:r>
              <a:rPr lang="en-US" sz="1200" dirty="0" err="1"/>
              <a:t>Tkinter</a:t>
            </a:r>
            <a:r>
              <a:rPr lang="en-US" sz="1200" dirty="0"/>
              <a:t> 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200" dirty="0"/>
              <a:t>Creating Python script for MTF , test reject GUI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200" dirty="0"/>
              <a:t>Automating daily manual tasks (PCP &amp; IQC , Image processing)</a:t>
            </a:r>
          </a:p>
          <a:p>
            <a:pPr marL="519907" lvl="1" indent="-228600">
              <a:buFont typeface="Arial" panose="020B0604020202020204" pitchFamily="34" charset="0"/>
              <a:buChar char="•"/>
            </a:pPr>
            <a:r>
              <a:rPr lang="en-US" sz="1200" dirty="0"/>
              <a:t>PCP &amp; IQC :  99 % time saved (from 1 - 2 days to 10 - 15 </a:t>
            </a:r>
            <a:r>
              <a:rPr lang="en-US" sz="1200" dirty="0" err="1"/>
              <a:t>mins</a:t>
            </a:r>
            <a:r>
              <a:rPr lang="en-US" sz="1200" dirty="0"/>
              <a:t>)</a:t>
            </a:r>
          </a:p>
          <a:p>
            <a:pPr marL="519907" lvl="1" indent="-228600">
              <a:buFont typeface="Arial" panose="020B0604020202020204" pitchFamily="34" charset="0"/>
              <a:buChar char="•"/>
            </a:pPr>
            <a:r>
              <a:rPr lang="en-US" sz="1200" dirty="0"/>
              <a:t>Image processing :  40 % time saved per picture (from 60s to 36s) </a:t>
            </a:r>
            <a:r>
              <a:rPr lang="en-US" sz="1200" dirty="0">
                <a:sym typeface="Wingdings" panose="05000000000000000000" pitchFamily="2" charset="2"/>
              </a:rPr>
              <a:t> On average user does about 50 pictures in 1.5 hours</a:t>
            </a:r>
            <a:endParaRPr lang="en-US" sz="1200" dirty="0"/>
          </a:p>
          <a:p>
            <a:endParaRPr lang="en-US" sz="1200" b="1" u="sng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/>
          </a:p>
          <a:p>
            <a:endParaRPr lang="en-US" sz="11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1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1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For internal use</a:t>
            </a:r>
          </a:p>
        </p:txBody>
      </p:sp>
      <p:grpSp>
        <p:nvGrpSpPr>
          <p:cNvPr id="34" name="Group 33"/>
          <p:cNvGrpSpPr/>
          <p:nvPr/>
        </p:nvGrpSpPr>
        <p:grpSpPr>
          <a:xfrm>
            <a:off x="482193" y="3469433"/>
            <a:ext cx="11182281" cy="3069574"/>
            <a:chOff x="482193" y="3469433"/>
            <a:chExt cx="11182281" cy="3069574"/>
          </a:xfrm>
        </p:grpSpPr>
        <p:grpSp>
          <p:nvGrpSpPr>
            <p:cNvPr id="21" name="Group 20"/>
            <p:cNvGrpSpPr/>
            <p:nvPr/>
          </p:nvGrpSpPr>
          <p:grpSpPr>
            <a:xfrm>
              <a:off x="569822" y="3702856"/>
              <a:ext cx="11094652" cy="2836151"/>
              <a:chOff x="315906" y="1216653"/>
              <a:chExt cx="11625968" cy="3348261"/>
            </a:xfrm>
          </p:grpSpPr>
          <p:grpSp>
            <p:nvGrpSpPr>
              <p:cNvPr id="22" name="Group 21"/>
              <p:cNvGrpSpPr/>
              <p:nvPr/>
            </p:nvGrpSpPr>
            <p:grpSpPr>
              <a:xfrm>
                <a:off x="315906" y="1221130"/>
                <a:ext cx="3988122" cy="3343784"/>
                <a:chOff x="243283" y="1216653"/>
                <a:chExt cx="3988122" cy="3462338"/>
              </a:xfrm>
            </p:grpSpPr>
            <p:graphicFrame>
              <p:nvGraphicFramePr>
                <p:cNvPr id="31" name="Content Placeholder 30"/>
                <p:cNvGraphicFramePr>
                  <a:graphicFrameLocks/>
                </p:cNvGraphicFramePr>
                <p:nvPr>
                  <p:extLst>
                    <p:ext uri="{D42A27DB-BD31-4B8C-83A1-F6EECF244321}">
                      <p14:modId xmlns:p14="http://schemas.microsoft.com/office/powerpoint/2010/main" val="3327225972"/>
                    </p:ext>
                  </p:extLst>
                </p:nvPr>
              </p:nvGraphicFramePr>
              <p:xfrm>
                <a:off x="243283" y="1216653"/>
                <a:ext cx="3525838" cy="3462338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3"/>
                </a:graphicData>
              </a:graphic>
            </p:graphicFrame>
            <p:cxnSp>
              <p:nvCxnSpPr>
                <p:cNvPr id="32" name="Straight Arrow Connector 31"/>
                <p:cNvCxnSpPr/>
                <p:nvPr/>
              </p:nvCxnSpPr>
              <p:spPr>
                <a:xfrm flipH="1">
                  <a:off x="3517048" y="1816676"/>
                  <a:ext cx="0" cy="905256"/>
                </a:xfrm>
                <a:prstGeom prst="straightConnector1">
                  <a:avLst/>
                </a:prstGeom>
                <a:ln w="12700">
                  <a:solidFill>
                    <a:srgbClr val="FF8B57"/>
                  </a:solidFill>
                  <a:headEnd type="triangle"/>
                  <a:tailEnd type="triangle"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sp>
              <p:nvSpPr>
                <p:cNvPr id="33" name="Rectangle 32"/>
                <p:cNvSpPr/>
                <p:nvPr/>
              </p:nvSpPr>
              <p:spPr>
                <a:xfrm>
                  <a:off x="3560672" y="1776147"/>
                  <a:ext cx="670733" cy="1117783"/>
                </a:xfrm>
                <a:prstGeom prst="rect">
                  <a:avLst/>
                </a:prstGeom>
                <a:solidFill>
                  <a:schemeClr val="accent2">
                    <a:lumMod val="20000"/>
                    <a:lumOff val="80000"/>
                  </a:schemeClr>
                </a:solidFill>
                <a:ln w="635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tIns="54864" rtlCol="0" anchor="ctr"/>
                <a:lstStyle/>
                <a:p>
                  <a:pPr algn="ctr"/>
                  <a:r>
                    <a:rPr lang="en-US" sz="900" dirty="0">
                      <a:solidFill>
                        <a:schemeClr val="tx1"/>
                      </a:solidFill>
                    </a:rPr>
                    <a:t>Time saved: 44.6%</a:t>
                  </a:r>
                  <a:br>
                    <a:rPr lang="en-US" sz="900" dirty="0">
                      <a:solidFill>
                        <a:schemeClr val="tx1"/>
                      </a:solidFill>
                    </a:rPr>
                  </a:br>
                  <a:r>
                    <a:rPr lang="en-US" sz="900" dirty="0">
                      <a:solidFill>
                        <a:schemeClr val="tx1"/>
                      </a:solidFill>
                    </a:rPr>
                    <a:t>(4 </a:t>
                  </a:r>
                  <a:r>
                    <a:rPr lang="en-US" sz="900" dirty="0" err="1">
                      <a:solidFill>
                        <a:schemeClr val="tx1"/>
                      </a:solidFill>
                    </a:rPr>
                    <a:t>mins</a:t>
                  </a:r>
                  <a:r>
                    <a:rPr lang="en-US" sz="900" dirty="0">
                      <a:solidFill>
                        <a:schemeClr val="tx1"/>
                      </a:solidFill>
                    </a:rPr>
                    <a:t> 50 sec)</a:t>
                  </a:r>
                </a:p>
              </p:txBody>
            </p:sp>
          </p:grpSp>
          <p:grpSp>
            <p:nvGrpSpPr>
              <p:cNvPr id="23" name="Group 22"/>
              <p:cNvGrpSpPr/>
              <p:nvPr/>
            </p:nvGrpSpPr>
            <p:grpSpPr>
              <a:xfrm>
                <a:off x="4184138" y="1216653"/>
                <a:ext cx="3924963" cy="3346704"/>
                <a:chOff x="4131420" y="1216653"/>
                <a:chExt cx="4069814" cy="3462338"/>
              </a:xfrm>
            </p:grpSpPr>
            <p:graphicFrame>
              <p:nvGraphicFramePr>
                <p:cNvPr id="28" name="Content Placeholder 27"/>
                <p:cNvGraphicFramePr>
                  <a:graphicFrameLocks/>
                </p:cNvGraphicFramePr>
                <p:nvPr>
                  <p:extLst>
                    <p:ext uri="{D42A27DB-BD31-4B8C-83A1-F6EECF244321}">
                      <p14:modId xmlns:p14="http://schemas.microsoft.com/office/powerpoint/2010/main" val="275214690"/>
                    </p:ext>
                  </p:extLst>
                </p:nvPr>
              </p:nvGraphicFramePr>
              <p:xfrm>
                <a:off x="4131420" y="1216653"/>
                <a:ext cx="3524250" cy="3462338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4"/>
                </a:graphicData>
              </a:graphic>
            </p:graphicFrame>
            <p:cxnSp>
              <p:nvCxnSpPr>
                <p:cNvPr id="29" name="Straight Arrow Connector 28"/>
                <p:cNvCxnSpPr/>
                <p:nvPr/>
              </p:nvCxnSpPr>
              <p:spPr>
                <a:xfrm>
                  <a:off x="7466817" y="1986757"/>
                  <a:ext cx="0" cy="1078011"/>
                </a:xfrm>
                <a:prstGeom prst="straightConnector1">
                  <a:avLst/>
                </a:prstGeom>
                <a:ln w="12700">
                  <a:solidFill>
                    <a:srgbClr val="FF8B57"/>
                  </a:solidFill>
                  <a:headEnd type="triangle"/>
                  <a:tailEnd type="triangle"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sp>
              <p:nvSpPr>
                <p:cNvPr id="30" name="Rectangle 29"/>
                <p:cNvSpPr/>
                <p:nvPr/>
              </p:nvSpPr>
              <p:spPr>
                <a:xfrm>
                  <a:off x="7515107" y="1986756"/>
                  <a:ext cx="686127" cy="1116808"/>
                </a:xfrm>
                <a:prstGeom prst="rect">
                  <a:avLst/>
                </a:prstGeom>
                <a:solidFill>
                  <a:schemeClr val="accent2">
                    <a:lumMod val="20000"/>
                    <a:lumOff val="80000"/>
                  </a:schemeClr>
                </a:solidFill>
                <a:ln w="635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tIns="0" rtlCol="0" anchor="ctr"/>
                <a:lstStyle/>
                <a:p>
                  <a:pPr algn="ctr"/>
                  <a:r>
                    <a:rPr lang="en-US" sz="900" dirty="0">
                      <a:solidFill>
                        <a:schemeClr val="tx1"/>
                      </a:solidFill>
                    </a:rPr>
                    <a:t>Time saved: 57.7%</a:t>
                  </a:r>
                  <a:br>
                    <a:rPr lang="en-US" sz="900" dirty="0">
                      <a:solidFill>
                        <a:schemeClr val="tx1"/>
                      </a:solidFill>
                    </a:rPr>
                  </a:br>
                  <a:r>
                    <a:rPr lang="en-US" sz="900" dirty="0">
                      <a:solidFill>
                        <a:schemeClr val="tx1"/>
                      </a:solidFill>
                    </a:rPr>
                    <a:t>(24 </a:t>
                  </a:r>
                  <a:r>
                    <a:rPr lang="en-US" sz="900" dirty="0" err="1">
                      <a:solidFill>
                        <a:schemeClr val="tx1"/>
                      </a:solidFill>
                    </a:rPr>
                    <a:t>mins</a:t>
                  </a:r>
                  <a:r>
                    <a:rPr lang="en-US" sz="900" dirty="0">
                      <a:solidFill>
                        <a:schemeClr val="tx1"/>
                      </a:solidFill>
                    </a:rPr>
                    <a:t> 30 sec)</a:t>
                  </a:r>
                </a:p>
              </p:txBody>
            </p:sp>
          </p:grpSp>
          <p:grpSp>
            <p:nvGrpSpPr>
              <p:cNvPr id="24" name="Group 23"/>
              <p:cNvGrpSpPr/>
              <p:nvPr/>
            </p:nvGrpSpPr>
            <p:grpSpPr>
              <a:xfrm>
                <a:off x="7999735" y="1216653"/>
                <a:ext cx="3942139" cy="3346704"/>
                <a:chOff x="8016666" y="1216653"/>
                <a:chExt cx="4069324" cy="3462338"/>
              </a:xfrm>
            </p:grpSpPr>
            <p:graphicFrame>
              <p:nvGraphicFramePr>
                <p:cNvPr id="25" name="Content Placeholder 28"/>
                <p:cNvGraphicFramePr>
                  <a:graphicFrameLocks/>
                </p:cNvGraphicFramePr>
                <p:nvPr>
                  <p:extLst>
                    <p:ext uri="{D42A27DB-BD31-4B8C-83A1-F6EECF244321}">
                      <p14:modId xmlns:p14="http://schemas.microsoft.com/office/powerpoint/2010/main" val="666517495"/>
                    </p:ext>
                  </p:extLst>
                </p:nvPr>
              </p:nvGraphicFramePr>
              <p:xfrm>
                <a:off x="8016666" y="1216653"/>
                <a:ext cx="3524249" cy="3462338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5"/>
                </a:graphicData>
              </a:graphic>
            </p:graphicFrame>
            <p:cxnSp>
              <p:nvCxnSpPr>
                <p:cNvPr id="26" name="Straight Arrow Connector 25"/>
                <p:cNvCxnSpPr/>
                <p:nvPr/>
              </p:nvCxnSpPr>
              <p:spPr>
                <a:xfrm>
                  <a:off x="11350417" y="1944661"/>
                  <a:ext cx="0" cy="1252728"/>
                </a:xfrm>
                <a:prstGeom prst="straightConnector1">
                  <a:avLst/>
                </a:prstGeom>
                <a:ln w="12700">
                  <a:solidFill>
                    <a:srgbClr val="FF8B57"/>
                  </a:solidFill>
                  <a:headEnd type="triangle"/>
                  <a:tailEnd type="triangle"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sp>
              <p:nvSpPr>
                <p:cNvPr id="27" name="Rectangle 26"/>
                <p:cNvSpPr/>
                <p:nvPr/>
              </p:nvSpPr>
              <p:spPr>
                <a:xfrm>
                  <a:off x="11398490" y="1966138"/>
                  <a:ext cx="687500" cy="1120109"/>
                </a:xfrm>
                <a:prstGeom prst="rect">
                  <a:avLst/>
                </a:prstGeom>
                <a:solidFill>
                  <a:schemeClr val="accent2">
                    <a:lumMod val="20000"/>
                    <a:lumOff val="80000"/>
                  </a:schemeClr>
                </a:solidFill>
                <a:ln w="635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tIns="0" rtlCol="0" anchor="ctr"/>
                <a:lstStyle/>
                <a:p>
                  <a:pPr algn="ctr"/>
                  <a:r>
                    <a:rPr lang="en-US" sz="900" dirty="0">
                      <a:solidFill>
                        <a:schemeClr val="tx1"/>
                      </a:solidFill>
                    </a:rPr>
                    <a:t>Time saved: 65.7%</a:t>
                  </a:r>
                  <a:br>
                    <a:rPr lang="en-US" sz="900" dirty="0">
                      <a:solidFill>
                        <a:schemeClr val="tx1"/>
                      </a:solidFill>
                    </a:rPr>
                  </a:br>
                  <a:r>
                    <a:rPr lang="en-US" sz="900" dirty="0">
                      <a:solidFill>
                        <a:schemeClr val="tx1"/>
                      </a:solidFill>
                    </a:rPr>
                    <a:t>(57 </a:t>
                  </a:r>
                  <a:r>
                    <a:rPr lang="en-US" sz="900" dirty="0" err="1">
                      <a:solidFill>
                        <a:schemeClr val="tx1"/>
                      </a:solidFill>
                    </a:rPr>
                    <a:t>mins</a:t>
                  </a:r>
                  <a:r>
                    <a:rPr lang="en-US" sz="900" dirty="0">
                      <a:solidFill>
                        <a:schemeClr val="tx1"/>
                      </a:solidFill>
                    </a:rPr>
                    <a:t> 30 sec)</a:t>
                  </a:r>
                </a:p>
              </p:txBody>
            </p:sp>
          </p:grpSp>
        </p:grpSp>
        <p:sp>
          <p:nvSpPr>
            <p:cNvPr id="6" name="Rectangle 5"/>
            <p:cNvSpPr/>
            <p:nvPr/>
          </p:nvSpPr>
          <p:spPr>
            <a:xfrm>
              <a:off x="482193" y="3469433"/>
              <a:ext cx="2746714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200" b="1" u="sng" dirty="0"/>
                <a:t>PDF Image Processing Time Save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857845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jor Achievements, Challenges and Key Learning Point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Challenges &amp; Key Learning Points throughout Internship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550898" y="1394093"/>
            <a:ext cx="11071946" cy="4740093"/>
          </a:xfrm>
        </p:spPr>
        <p:txBody>
          <a:bodyPr/>
          <a:lstStyle/>
          <a:p>
            <a:r>
              <a:rPr lang="en-US" sz="1200" b="1" u="sng" dirty="0"/>
              <a:t>Challeng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Managing time taken for projects / task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Adapting to workloa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Learning VBA</a:t>
            </a:r>
          </a:p>
          <a:p>
            <a:endParaRPr lang="en-US" sz="1200" b="1" u="sng" dirty="0"/>
          </a:p>
          <a:p>
            <a:r>
              <a:rPr lang="en-US" sz="1200" b="1" u="sng" dirty="0"/>
              <a:t>Key Learning Points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Important to keep backups of cod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Important not to hard cod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Learned ways to reduce program speed</a:t>
            </a:r>
          </a:p>
          <a:p>
            <a:pPr marL="462757" lvl="1" indent="-171450">
              <a:buFont typeface="Wingdings" panose="05000000000000000000" pitchFamily="2" charset="2"/>
              <a:buChar char="q"/>
            </a:pPr>
            <a:r>
              <a:rPr lang="en-US" sz="1200" dirty="0"/>
              <a:t>Reducing loops </a:t>
            </a:r>
          </a:p>
          <a:p>
            <a:pPr marL="462757" lvl="1" indent="-171450">
              <a:buFont typeface="Wingdings" panose="05000000000000000000" pitchFamily="2" charset="2"/>
              <a:buChar char="q"/>
            </a:pPr>
            <a:r>
              <a:rPr lang="en-US" sz="1200" dirty="0"/>
              <a:t>Reducing Memory use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Learned to present &amp; make document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Learned to plan &amp; break down problems into smaller par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Learned importance of having robust function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/>
          </a:p>
          <a:p>
            <a:endParaRPr lang="en-US" sz="1200" b="1" u="sng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/>
          </a:p>
          <a:p>
            <a:endParaRPr lang="en-US" sz="11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1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1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For internal use</a:t>
            </a:r>
          </a:p>
        </p:txBody>
      </p:sp>
    </p:spTree>
    <p:extLst>
      <p:ext uri="{BB962C8B-B14F-4D97-AF65-F5344CB8AC3E}">
        <p14:creationId xmlns:p14="http://schemas.microsoft.com/office/powerpoint/2010/main" val="84322523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71735241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For internal us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  <a:p>
            <a:r>
              <a:rPr lang="en-US" dirty="0"/>
              <a:t>Purpose and Scope Project Description, </a:t>
            </a:r>
          </a:p>
          <a:p>
            <a:r>
              <a:rPr lang="en-US" dirty="0"/>
              <a:t>Deliverables</a:t>
            </a:r>
          </a:p>
          <a:p>
            <a:pPr marL="0" lvl="0" indent="0">
              <a:buNone/>
            </a:pPr>
            <a:r>
              <a:rPr lang="en-US" dirty="0"/>
              <a:t>3.   Major Achievements, Challenges and Key Learning Points</a:t>
            </a:r>
          </a:p>
          <a:p>
            <a:pPr marL="0" lvl="0" indent="0">
              <a:buNone/>
            </a:pPr>
            <a:r>
              <a:rPr lang="en-US" dirty="0"/>
              <a:t>4.   Special Thanks and Appreciation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33980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urpose &amp; Scope of Project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All Projects</a:t>
            </a:r>
          </a:p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For internal use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84750994"/>
              </p:ext>
            </p:extLst>
          </p:nvPr>
        </p:nvGraphicFramePr>
        <p:xfrm>
          <a:off x="546670" y="1335489"/>
          <a:ext cx="11340530" cy="4895327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535750">
                  <a:extLst>
                    <a:ext uri="{9D8B030D-6E8A-4147-A177-3AD203B41FA5}">
                      <a16:colId xmlns:a16="http://schemas.microsoft.com/office/drawing/2014/main" val="715747807"/>
                    </a:ext>
                  </a:extLst>
                </a:gridCol>
                <a:gridCol w="4135500">
                  <a:extLst>
                    <a:ext uri="{9D8B030D-6E8A-4147-A177-3AD203B41FA5}">
                      <a16:colId xmlns:a16="http://schemas.microsoft.com/office/drawing/2014/main" val="755213092"/>
                    </a:ext>
                  </a:extLst>
                </a:gridCol>
                <a:gridCol w="5669280">
                  <a:extLst>
                    <a:ext uri="{9D8B030D-6E8A-4147-A177-3AD203B41FA5}">
                      <a16:colId xmlns:a16="http://schemas.microsoft.com/office/drawing/2014/main" val="1906118623"/>
                    </a:ext>
                  </a:extLst>
                </a:gridCol>
              </a:tblGrid>
              <a:tr h="314734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Project Name</a:t>
                      </a:r>
                    </a:p>
                  </a:txBody>
                  <a:tcP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Project Purpose</a:t>
                      </a:r>
                    </a:p>
                  </a:txBody>
                  <a:tcP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Scope</a:t>
                      </a:r>
                      <a:r>
                        <a:rPr lang="en-US" sz="1400" baseline="0" dirty="0"/>
                        <a:t> &amp; Boundary</a:t>
                      </a:r>
                      <a:endParaRPr lang="en-US" sz="1400" dirty="0"/>
                    </a:p>
                  </a:txBody>
                  <a:tcPr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73210440"/>
                  </a:ext>
                </a:extLst>
              </a:tr>
              <a:tr h="1793986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MTF GU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 algn="just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Create a GUI for</a:t>
                      </a:r>
                      <a:r>
                        <a:rPr lang="en-US" sz="1200" baseline="0" dirty="0"/>
                        <a:t> </a:t>
                      </a:r>
                      <a:r>
                        <a:rPr lang="en-US" sz="1200" dirty="0"/>
                        <a:t>presenting MTF data to Engineers </a:t>
                      </a:r>
                    </a:p>
                    <a:p>
                      <a:pPr marL="171450" indent="-171450" algn="just">
                        <a:buFont typeface="Arial" panose="020B0604020202020204" pitchFamily="34" charset="0"/>
                        <a:buChar char="•"/>
                      </a:pPr>
                      <a:endParaRPr lang="en-US" sz="1200" dirty="0"/>
                    </a:p>
                    <a:p>
                      <a:pPr marL="171450" indent="-171450" algn="just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Determine the good / bad Lens and Wafers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Continuous Improvement Project (CIP)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en-US" sz="1200" dirty="0"/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b="1" u="sng" dirty="0"/>
                        <a:t>Improvements</a:t>
                      </a:r>
                    </a:p>
                    <a:p>
                      <a:pPr marL="462757" lvl="1" indent="-171450">
                        <a:buFont typeface="Wingdings" panose="05000000000000000000" pitchFamily="2" charset="2"/>
                        <a:buChar char="q"/>
                      </a:pPr>
                      <a:r>
                        <a:rPr lang="en-US" sz="1200" dirty="0"/>
                        <a:t>Design</a:t>
                      </a:r>
                    </a:p>
                    <a:p>
                      <a:pPr marL="462757" lvl="1" indent="-171450">
                        <a:buFont typeface="Wingdings" panose="05000000000000000000" pitchFamily="2" charset="2"/>
                        <a:buChar char="q"/>
                      </a:pPr>
                      <a:r>
                        <a:rPr lang="en-US" sz="1200" dirty="0"/>
                        <a:t>Added Features </a:t>
                      </a:r>
                    </a:p>
                    <a:p>
                      <a:pPr marL="708819" lvl="3" indent="-171450">
                        <a:buFont typeface="Wingdings" panose="05000000000000000000" pitchFamily="2" charset="2"/>
                        <a:buChar char="v"/>
                      </a:pPr>
                      <a:r>
                        <a:rPr lang="en-US" sz="1200" dirty="0"/>
                        <a:t>Create new / edit current configuration file</a:t>
                      </a:r>
                    </a:p>
                    <a:p>
                      <a:pPr marL="708819" lvl="3" indent="-171450">
                        <a:buFont typeface="Wingdings" panose="05000000000000000000" pitchFamily="2" charset="2"/>
                        <a:buChar char="v"/>
                      </a:pPr>
                      <a:r>
                        <a:rPr lang="en-US" sz="1200" dirty="0"/>
                        <a:t>Contoured / Pass fail Wafer Map</a:t>
                      </a:r>
                    </a:p>
                    <a:p>
                      <a:pPr marL="708819" lvl="3" indent="-171450">
                        <a:buFont typeface="Wingdings" panose="05000000000000000000" pitchFamily="2" charset="2"/>
                        <a:buChar char="v"/>
                      </a:pPr>
                      <a:r>
                        <a:rPr lang="en-US" sz="1200" dirty="0"/>
                        <a:t>Open multiple Wafer Maps with different frequencies</a:t>
                      </a:r>
                    </a:p>
                    <a:p>
                      <a:pPr marL="708819" lvl="3" indent="-171450">
                        <a:buFont typeface="Wingdings" panose="05000000000000000000" pitchFamily="2" charset="2"/>
                        <a:buChar char="v"/>
                      </a:pPr>
                      <a:r>
                        <a:rPr lang="en-US" sz="1200" dirty="0"/>
                        <a:t>Heat Map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15236255"/>
                  </a:ext>
                </a:extLst>
              </a:tr>
              <a:tr h="528111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PDF Image processing</a:t>
                      </a:r>
                      <a:r>
                        <a:rPr lang="en-US" sz="1200" baseline="0" dirty="0"/>
                        <a:t> 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 algn="just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Automate image</a:t>
                      </a:r>
                      <a:r>
                        <a:rPr lang="en-US" sz="1200" baseline="0" dirty="0"/>
                        <a:t> processing from PDF files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 baseline="0" dirty="0"/>
                        <a:t>Process , crop &amp; superimpose correct images and info based on </a:t>
                      </a:r>
                      <a:r>
                        <a:rPr lang="en-US" sz="1200" baseline="0" dirty="0" err="1"/>
                        <a:t>filetype</a:t>
                      </a:r>
                      <a:endParaRPr lang="en-US" sz="1200" baseline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31425729"/>
                  </a:ext>
                </a:extLst>
              </a:tr>
              <a:tr h="74777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PCP</a:t>
                      </a:r>
                      <a:r>
                        <a:rPr lang="en-US" sz="1200" baseline="0" dirty="0"/>
                        <a:t> &amp; IQC Generator 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 algn="just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Automate copying process of the PCP &amp; IQC</a:t>
                      </a:r>
                      <a:r>
                        <a:rPr lang="en-US" sz="1200" baseline="0" dirty="0"/>
                        <a:t> processes </a:t>
                      </a:r>
                    </a:p>
                    <a:p>
                      <a:pPr marL="171450" indent="-171450" algn="just">
                        <a:buFont typeface="Arial" panose="020B0604020202020204" pitchFamily="34" charset="0"/>
                        <a:buChar char="•"/>
                      </a:pPr>
                      <a:endParaRPr lang="en-US" sz="1200" baseline="0" dirty="0"/>
                    </a:p>
                    <a:p>
                      <a:pPr marL="171450" indent="-171450" algn="just">
                        <a:buFont typeface="Arial" panose="020B0604020202020204" pitchFamily="34" charset="0"/>
                        <a:buChar char="•"/>
                      </a:pPr>
                      <a:r>
                        <a:rPr lang="en-US" sz="1200" baseline="0" dirty="0"/>
                        <a:t>Decrease time spent on making control plan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baseline="0" dirty="0"/>
                        <a:t>Managing variability in number of worksheets &amp; remarks</a:t>
                      </a:r>
                    </a:p>
                    <a:p>
                      <a:pPr marL="171450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1200" baseline="0" dirty="0"/>
                    </a:p>
                    <a:p>
                      <a:pPr marL="171450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baseline="0" dirty="0"/>
                        <a:t>Export new control plan csv file with IQC and PCP control plan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72198509"/>
                  </a:ext>
                </a:extLst>
              </a:tr>
              <a:tr h="849783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Test Reject</a:t>
                      </a:r>
                      <a:r>
                        <a:rPr lang="en-US" sz="1200" baseline="0" dirty="0"/>
                        <a:t> GUI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 algn="just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Create a GUI showing </a:t>
                      </a:r>
                      <a:r>
                        <a:rPr lang="en-US" sz="1200" baseline="0" dirty="0"/>
                        <a:t>operators which units on the tray need to be picked up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Find</a:t>
                      </a:r>
                      <a:r>
                        <a:rPr lang="en-US" sz="1200" baseline="0" dirty="0"/>
                        <a:t> </a:t>
                      </a:r>
                      <a:r>
                        <a:rPr lang="en-US" sz="1200" baseline="0" dirty="0" err="1"/>
                        <a:t>Mphase</a:t>
                      </a:r>
                      <a:r>
                        <a:rPr lang="en-US" sz="1200" baseline="0" dirty="0"/>
                        <a:t> &amp; 2DBC csv files by the given Lot &amp; tray number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lang="en-US" sz="1200" baseline="0" dirty="0"/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 baseline="0" dirty="0"/>
                        <a:t>Display Bin Numbers for found serial numbers in 2DBC file 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lang="en-US" sz="1200" baseline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16673992"/>
                  </a:ext>
                </a:extLst>
              </a:tr>
              <a:tr h="660943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Angel wings plo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 algn="just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Create</a:t>
                      </a:r>
                      <a:r>
                        <a:rPr lang="en-US" sz="1200" baseline="0" dirty="0"/>
                        <a:t> Angel wings plot based on builds &amp; C.A.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 baseline="0" dirty="0"/>
                        <a:t>Plot out Angel wings by different builds &amp; Clear aperture (90 &amp; 99%CA)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lang="en-US" sz="1200" baseline="0" dirty="0"/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 baseline="0" dirty="0"/>
                        <a:t>Color plot based on direction &amp; by FEC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371258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7785488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jects Backgroun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550898" y="1394086"/>
            <a:ext cx="11071946" cy="4740093"/>
          </a:xfrm>
        </p:spPr>
        <p:txBody>
          <a:bodyPr/>
          <a:lstStyle/>
          <a:p>
            <a:r>
              <a:rPr lang="en-US" sz="1200" b="1" u="sng" dirty="0"/>
              <a:t>Main Project: MTF GUI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 u="sng" dirty="0"/>
              <a:t>Objective</a:t>
            </a:r>
            <a:r>
              <a:rPr lang="en-US" sz="1200" dirty="0"/>
              <a:t> </a:t>
            </a:r>
          </a:p>
          <a:p>
            <a:pPr marL="462757" lvl="1" indent="-171450">
              <a:buFont typeface="Arial" panose="020B0604020202020204" pitchFamily="34" charset="0"/>
              <a:buChar char="•"/>
            </a:pPr>
            <a:r>
              <a:rPr lang="en-US" sz="1200" dirty="0"/>
              <a:t>Create GUI presenting MTF data &amp; curve of all lenses in Wafer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 u="sng" dirty="0"/>
              <a:t>Problems</a:t>
            </a:r>
            <a:r>
              <a:rPr lang="en-US" sz="1200" dirty="0"/>
              <a:t>:</a:t>
            </a:r>
          </a:p>
          <a:p>
            <a:pPr marL="462757" lvl="1" indent="-171450">
              <a:buFont typeface="Arial" panose="020B0604020202020204" pitchFamily="34" charset="0"/>
              <a:buChar char="•"/>
            </a:pPr>
            <a:r>
              <a:rPr lang="en-US" sz="1200" dirty="0"/>
              <a:t>No maintenance of VBA code </a:t>
            </a:r>
          </a:p>
          <a:p>
            <a:pPr marL="462757" lvl="1" indent="-171450">
              <a:buFont typeface="Arial" panose="020B0604020202020204" pitchFamily="34" charset="0"/>
              <a:buChar char="•"/>
            </a:pPr>
            <a:r>
              <a:rPr lang="en-US" sz="1200" dirty="0"/>
              <a:t>Need to analyze many wafers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 u="sng" dirty="0"/>
              <a:t>Solutions:</a:t>
            </a:r>
          </a:p>
          <a:p>
            <a:pPr marL="462757" lvl="1" indent="-171450">
              <a:buFont typeface="Arial" panose="020B0604020202020204" pitchFamily="34" charset="0"/>
              <a:buChar char="•"/>
            </a:pPr>
            <a:r>
              <a:rPr lang="en-US" sz="1200" dirty="0"/>
              <a:t>Replace VBA GUI with Python GUI 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For internal use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46670" y="899735"/>
            <a:ext cx="11076174" cy="494351"/>
          </a:xfrm>
        </p:spPr>
        <p:txBody>
          <a:bodyPr/>
          <a:lstStyle/>
          <a:p>
            <a:r>
              <a:rPr lang="en-US" dirty="0"/>
              <a:t>Main </a:t>
            </a:r>
            <a:r>
              <a:rPr lang="en-US" sz="1600" dirty="0"/>
              <a:t>Project</a:t>
            </a:r>
          </a:p>
          <a:p>
            <a:endParaRPr lang="en-US" dirty="0"/>
          </a:p>
          <a:p>
            <a:endParaRPr lang="en-US" dirty="0"/>
          </a:p>
        </p:txBody>
      </p:sp>
      <p:grpSp>
        <p:nvGrpSpPr>
          <p:cNvPr id="13" name="Group 12"/>
          <p:cNvGrpSpPr/>
          <p:nvPr/>
        </p:nvGrpSpPr>
        <p:grpSpPr>
          <a:xfrm>
            <a:off x="6719081" y="1265300"/>
            <a:ext cx="4903763" cy="4994296"/>
            <a:chOff x="6719082" y="1466024"/>
            <a:chExt cx="4903763" cy="4994296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719082" y="1687356"/>
              <a:ext cx="4903763" cy="2357106"/>
            </a:xfrm>
            <a:prstGeom prst="rect">
              <a:avLst/>
            </a:prstGeom>
          </p:spPr>
        </p:pic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719082" y="4103213"/>
              <a:ext cx="4903762" cy="2357107"/>
            </a:xfrm>
            <a:prstGeom prst="rect">
              <a:avLst/>
            </a:prstGeom>
          </p:spPr>
        </p:pic>
        <p:sp>
          <p:nvSpPr>
            <p:cNvPr id="23" name="TextBox 22"/>
            <p:cNvSpPr txBox="1"/>
            <p:nvPr/>
          </p:nvSpPr>
          <p:spPr>
            <a:xfrm>
              <a:off x="6719082" y="1466024"/>
              <a:ext cx="2963566" cy="18520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ct val="110000"/>
                </a:lnSpc>
              </a:pPr>
              <a:r>
                <a:rPr lang="en-US" sz="1200" b="1" u="sng" dirty="0">
                  <a:solidFill>
                    <a:schemeClr val="tx1"/>
                  </a:solidFill>
                </a:rPr>
                <a:t>MTF GUI Output</a:t>
              </a: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546670" y="3843738"/>
            <a:ext cx="5168330" cy="2036533"/>
            <a:chOff x="546670" y="3660882"/>
            <a:chExt cx="4865964" cy="1954472"/>
          </a:xfrm>
        </p:grpSpPr>
        <p:sp>
          <p:nvSpPr>
            <p:cNvPr id="12" name="TextBox 11"/>
            <p:cNvSpPr txBox="1"/>
            <p:nvPr/>
          </p:nvSpPr>
          <p:spPr>
            <a:xfrm>
              <a:off x="546670" y="3660882"/>
              <a:ext cx="1491748" cy="2031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ct val="110000"/>
                </a:lnSpc>
              </a:pPr>
              <a:r>
                <a:rPr lang="en-US" sz="1200" b="1" u="sng" dirty="0">
                  <a:solidFill>
                    <a:schemeClr val="tx1"/>
                  </a:solidFill>
                </a:rPr>
                <a:t>MTF GUI Flow</a:t>
              </a:r>
            </a:p>
          </p:txBody>
        </p:sp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46670" y="3938692"/>
              <a:ext cx="4865964" cy="167666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529306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jects Backgroun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550898" y="1394086"/>
            <a:ext cx="11071946" cy="4740093"/>
          </a:xfrm>
        </p:spPr>
        <p:txBody>
          <a:bodyPr/>
          <a:lstStyle/>
          <a:p>
            <a:r>
              <a:rPr lang="en-US" sz="1200" b="1" u="sng" dirty="0"/>
              <a:t>Supplementary Projects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200" dirty="0"/>
              <a:t>Script automating copying of processes for PCP &amp; IQC Control Plan (Excel)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200" dirty="0"/>
              <a:t>Python Script for processing of images from </a:t>
            </a:r>
            <a:r>
              <a:rPr lang="en-US" sz="1200" dirty="0" err="1"/>
              <a:t>Zygo</a:t>
            </a:r>
            <a:r>
              <a:rPr lang="en-US" sz="1200" dirty="0"/>
              <a:t> PDF fi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For internal use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46670" y="899735"/>
            <a:ext cx="11076174" cy="494351"/>
          </a:xfrm>
        </p:spPr>
        <p:txBody>
          <a:bodyPr/>
          <a:lstStyle/>
          <a:p>
            <a:r>
              <a:rPr lang="en-US" sz="1600" dirty="0"/>
              <a:t>Supplementary Projects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21" name="TextBox 20"/>
          <p:cNvSpPr txBox="1"/>
          <p:nvPr/>
        </p:nvSpPr>
        <p:spPr>
          <a:xfrm>
            <a:off x="7183316" y="1676834"/>
            <a:ext cx="4583136" cy="7109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 algn="just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US" sz="1050" dirty="0"/>
              <a:t>3 Different file types </a:t>
            </a:r>
          </a:p>
          <a:p>
            <a:pPr marL="171450" indent="-171450" algn="just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US" sz="1050" dirty="0"/>
              <a:t>Extract Top &amp; side view from BLD files &amp; superimpose Y distance value</a:t>
            </a:r>
          </a:p>
          <a:p>
            <a:pPr marL="171450" indent="-171450" algn="just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US" sz="1050" dirty="0"/>
              <a:t>Extract the Top view image from flatness &amp; roughness files &amp; superimpose </a:t>
            </a:r>
            <a:br>
              <a:rPr lang="en-US" sz="1050" dirty="0"/>
            </a:br>
            <a:r>
              <a:rPr lang="en-US" sz="1050" dirty="0" err="1"/>
              <a:t>Iso</a:t>
            </a:r>
            <a:r>
              <a:rPr lang="en-US" sz="1050" dirty="0"/>
              <a:t> &amp; SA 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183316" y="1394086"/>
            <a:ext cx="2011348" cy="1999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sz="1200" b="1" u="sng" dirty="0"/>
              <a:t>Image Processing Output</a:t>
            </a:r>
            <a:endParaRPr lang="en-US" sz="1200" b="1" u="sng" dirty="0">
              <a:solidFill>
                <a:schemeClr val="tx1"/>
              </a:solidFill>
            </a:endParaRPr>
          </a:p>
        </p:txBody>
      </p:sp>
      <p:sp>
        <p:nvSpPr>
          <p:cNvPr id="30" name="Right Arrow 29"/>
          <p:cNvSpPr/>
          <p:nvPr/>
        </p:nvSpPr>
        <p:spPr>
          <a:xfrm>
            <a:off x="9515806" y="3068116"/>
            <a:ext cx="473055" cy="317118"/>
          </a:xfrm>
          <a:prstGeom prst="rightArrow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ight Arrow 13"/>
          <p:cNvSpPr/>
          <p:nvPr/>
        </p:nvSpPr>
        <p:spPr>
          <a:xfrm>
            <a:off x="9515806" y="4342810"/>
            <a:ext cx="473055" cy="317118"/>
          </a:xfrm>
          <a:prstGeom prst="rightArrow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ight Arrow 14"/>
          <p:cNvSpPr/>
          <p:nvPr/>
        </p:nvSpPr>
        <p:spPr>
          <a:xfrm>
            <a:off x="9515806" y="5522652"/>
            <a:ext cx="473055" cy="317118"/>
          </a:xfrm>
          <a:prstGeom prst="rightArrow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5777" y="5243175"/>
            <a:ext cx="1595722" cy="108979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5777" y="4108212"/>
            <a:ext cx="1595722" cy="940815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5777" y="2573369"/>
            <a:ext cx="812050" cy="1397674"/>
          </a:xfrm>
          <a:prstGeom prst="rect">
            <a:avLst/>
          </a:prstGeom>
        </p:spPr>
      </p:pic>
      <p:grpSp>
        <p:nvGrpSpPr>
          <p:cNvPr id="29" name="Group 28"/>
          <p:cNvGrpSpPr/>
          <p:nvPr/>
        </p:nvGrpSpPr>
        <p:grpSpPr>
          <a:xfrm>
            <a:off x="7223760" y="2509293"/>
            <a:ext cx="2237318" cy="3907634"/>
            <a:chOff x="7223760" y="2509293"/>
            <a:chExt cx="2237318" cy="3907634"/>
          </a:xfrm>
        </p:grpSpPr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7486198" y="3844537"/>
              <a:ext cx="1911858" cy="1191439"/>
            </a:xfrm>
            <a:prstGeom prst="rect">
              <a:avLst/>
            </a:prstGeom>
          </p:spPr>
        </p:pic>
        <p:pic>
          <p:nvPicPr>
            <p:cNvPr id="19" name="Picture 18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486196" y="5099373"/>
              <a:ext cx="1911861" cy="1228437"/>
            </a:xfrm>
            <a:prstGeom prst="rect">
              <a:avLst/>
            </a:prstGeom>
          </p:spPr>
        </p:pic>
        <p:pic>
          <p:nvPicPr>
            <p:cNvPr id="20" name="Picture 19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449730" y="2553463"/>
              <a:ext cx="1948326" cy="1227674"/>
            </a:xfrm>
            <a:prstGeom prst="rect">
              <a:avLst/>
            </a:prstGeom>
          </p:spPr>
        </p:pic>
        <p:sp>
          <p:nvSpPr>
            <p:cNvPr id="22" name="Oval 21"/>
            <p:cNvSpPr/>
            <p:nvPr/>
          </p:nvSpPr>
          <p:spPr>
            <a:xfrm>
              <a:off x="7262421" y="2683810"/>
              <a:ext cx="200880" cy="192024"/>
            </a:xfrm>
            <a:prstGeom prst="ellipse">
              <a:avLst/>
            </a:prstGeom>
            <a:solidFill>
              <a:srgbClr val="FF9933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/>
                <a:t>1</a:t>
              </a:r>
            </a:p>
          </p:txBody>
        </p:sp>
        <p:sp>
          <p:nvSpPr>
            <p:cNvPr id="25" name="Oval 24"/>
            <p:cNvSpPr/>
            <p:nvPr/>
          </p:nvSpPr>
          <p:spPr>
            <a:xfrm>
              <a:off x="7262421" y="3998463"/>
              <a:ext cx="203728" cy="190935"/>
            </a:xfrm>
            <a:prstGeom prst="ellipse">
              <a:avLst/>
            </a:prstGeom>
            <a:solidFill>
              <a:srgbClr val="FF9933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/>
                <a:t>2</a:t>
              </a:r>
            </a:p>
          </p:txBody>
        </p:sp>
        <p:sp>
          <p:nvSpPr>
            <p:cNvPr id="26" name="Oval 25"/>
            <p:cNvSpPr/>
            <p:nvPr/>
          </p:nvSpPr>
          <p:spPr>
            <a:xfrm>
              <a:off x="7262421" y="5273890"/>
              <a:ext cx="200880" cy="192024"/>
            </a:xfrm>
            <a:prstGeom prst="ellipse">
              <a:avLst/>
            </a:prstGeom>
            <a:solidFill>
              <a:srgbClr val="FF9933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/>
                <a:t>3</a:t>
              </a:r>
            </a:p>
          </p:txBody>
        </p:sp>
        <p:sp>
          <p:nvSpPr>
            <p:cNvPr id="6" name="Rectangle 5"/>
            <p:cNvSpPr/>
            <p:nvPr/>
          </p:nvSpPr>
          <p:spPr>
            <a:xfrm>
              <a:off x="7223760" y="2509293"/>
              <a:ext cx="2237318" cy="3907634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546670" y="2478578"/>
            <a:ext cx="5391222" cy="1956497"/>
            <a:chOff x="546670" y="2605497"/>
            <a:chExt cx="5391222" cy="1956497"/>
          </a:xfrm>
        </p:grpSpPr>
        <p:sp>
          <p:nvSpPr>
            <p:cNvPr id="23" name="TextBox 22"/>
            <p:cNvSpPr txBox="1"/>
            <p:nvPr/>
          </p:nvSpPr>
          <p:spPr>
            <a:xfrm>
              <a:off x="546671" y="2605497"/>
              <a:ext cx="2520136" cy="22051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ct val="110000"/>
                </a:lnSpc>
              </a:pPr>
              <a:r>
                <a:rPr lang="en-US" sz="1200" b="1" u="sng" dirty="0"/>
                <a:t>Image Processing Script Flow</a:t>
              </a:r>
              <a:endParaRPr lang="en-US" sz="1200" b="1" u="sng" dirty="0">
                <a:solidFill>
                  <a:schemeClr val="tx1"/>
                </a:solidFill>
              </a:endParaRPr>
            </a:p>
          </p:txBody>
        </p:sp>
        <p:pic>
          <p:nvPicPr>
            <p:cNvPr id="13" name="Picture 12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546670" y="2922857"/>
              <a:ext cx="5391222" cy="163913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5122350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jects Backgroun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550898" y="1406791"/>
            <a:ext cx="11071946" cy="4740093"/>
          </a:xfrm>
        </p:spPr>
        <p:txBody>
          <a:bodyPr/>
          <a:lstStyle/>
          <a:p>
            <a:r>
              <a:rPr lang="en-US" sz="1200" b="1" u="sng" dirty="0"/>
              <a:t>Supplementary Projects</a:t>
            </a:r>
          </a:p>
          <a:p>
            <a:pPr marL="228600" indent="-228600">
              <a:buFont typeface="+mj-lt"/>
              <a:buAutoNum type="arabicPeriod" startAt="3"/>
            </a:pPr>
            <a:r>
              <a:rPr lang="en-US" sz="1200" dirty="0"/>
              <a:t>Python Script for Test Reject GUI </a:t>
            </a:r>
            <a:r>
              <a:rPr lang="en-US" sz="1200" dirty="0">
                <a:sym typeface="Wingdings" panose="05000000000000000000" pitchFamily="2" charset="2"/>
              </a:rPr>
              <a:t> Compare serial number from 2DBC &amp; </a:t>
            </a:r>
            <a:r>
              <a:rPr lang="en-US" sz="1200" dirty="0" err="1">
                <a:sym typeface="Wingdings" panose="05000000000000000000" pitchFamily="2" charset="2"/>
              </a:rPr>
              <a:t>Mphase</a:t>
            </a:r>
            <a:r>
              <a:rPr lang="en-US" sz="1200" dirty="0">
                <a:sym typeface="Wingdings" panose="05000000000000000000" pitchFamily="2" charset="2"/>
              </a:rPr>
              <a:t> Files  Display Bin number &amp; units not found</a:t>
            </a:r>
          </a:p>
          <a:p>
            <a:pPr marL="228600" indent="-228600">
              <a:buFont typeface="+mj-lt"/>
              <a:buAutoNum type="arabicPeriod" startAt="3"/>
            </a:pPr>
            <a:r>
              <a:rPr lang="en-US" sz="1200" dirty="0">
                <a:sym typeface="Wingdings" panose="05000000000000000000" pitchFamily="2" charset="2"/>
              </a:rPr>
              <a:t>Python Script for Angel wings form error plot</a:t>
            </a:r>
            <a:endParaRPr lang="en-US" sz="12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>
          <a:xfrm>
            <a:off x="767347" y="6514703"/>
            <a:ext cx="1710239" cy="138500"/>
          </a:xfrm>
        </p:spPr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For internal use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46670" y="899735"/>
            <a:ext cx="11076174" cy="494351"/>
          </a:xfrm>
        </p:spPr>
        <p:txBody>
          <a:bodyPr/>
          <a:lstStyle/>
          <a:p>
            <a:r>
              <a:rPr lang="en-US" sz="1600" dirty="0"/>
              <a:t>Supplementary Projects</a:t>
            </a:r>
          </a:p>
          <a:p>
            <a:endParaRPr lang="en-US" dirty="0"/>
          </a:p>
        </p:txBody>
      </p:sp>
      <p:grpSp>
        <p:nvGrpSpPr>
          <p:cNvPr id="3" name="Group 2"/>
          <p:cNvGrpSpPr/>
          <p:nvPr/>
        </p:nvGrpSpPr>
        <p:grpSpPr>
          <a:xfrm>
            <a:off x="5359575" y="2364398"/>
            <a:ext cx="6263268" cy="4150305"/>
            <a:chOff x="5359576" y="2223910"/>
            <a:chExt cx="6263268" cy="4150305"/>
          </a:xfrm>
        </p:grpSpPr>
        <p:grpSp>
          <p:nvGrpSpPr>
            <p:cNvPr id="39" name="Group 38"/>
            <p:cNvGrpSpPr/>
            <p:nvPr/>
          </p:nvGrpSpPr>
          <p:grpSpPr>
            <a:xfrm>
              <a:off x="5359576" y="2223910"/>
              <a:ext cx="6263268" cy="3264898"/>
              <a:chOff x="446077" y="2299022"/>
              <a:chExt cx="6263268" cy="3264898"/>
            </a:xfrm>
          </p:grpSpPr>
          <p:pic>
            <p:nvPicPr>
              <p:cNvPr id="33" name="Picture 32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46670" y="2629313"/>
                <a:ext cx="6162675" cy="2934607"/>
              </a:xfrm>
              <a:prstGeom prst="rect">
                <a:avLst/>
              </a:prstGeom>
            </p:spPr>
          </p:pic>
          <p:sp>
            <p:nvSpPr>
              <p:cNvPr id="34" name="Rectangle 33"/>
              <p:cNvSpPr/>
              <p:nvPr/>
            </p:nvSpPr>
            <p:spPr>
              <a:xfrm>
                <a:off x="446077" y="2299022"/>
                <a:ext cx="1859612" cy="2769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1200" b="1" u="sng" dirty="0"/>
                  <a:t>Test Reject GUI Output</a:t>
                </a:r>
              </a:p>
            </p:txBody>
          </p:sp>
        </p:grpSp>
        <p:sp>
          <p:nvSpPr>
            <p:cNvPr id="29" name="TextBox 28"/>
            <p:cNvSpPr txBox="1"/>
            <p:nvPr/>
          </p:nvSpPr>
          <p:spPr>
            <a:xfrm>
              <a:off x="5460169" y="5612468"/>
              <a:ext cx="5125769" cy="76174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71450" indent="-171450" algn="just">
                <a:lnSpc>
                  <a:spcPct val="110000"/>
                </a:lnSpc>
                <a:buFont typeface="Arial" panose="020B0604020202020204" pitchFamily="34" charset="0"/>
                <a:buChar char="•"/>
              </a:pPr>
              <a:r>
                <a:rPr lang="en-US" sz="900" dirty="0">
                  <a:solidFill>
                    <a:schemeClr val="tx1"/>
                  </a:solidFill>
                </a:rPr>
                <a:t>Operator enters Lot number</a:t>
              </a:r>
              <a:endParaRPr lang="en-US" sz="900" dirty="0"/>
            </a:p>
            <a:p>
              <a:pPr marL="171450" indent="-171450" algn="just">
                <a:lnSpc>
                  <a:spcPct val="110000"/>
                </a:lnSpc>
                <a:buFont typeface="Arial" panose="020B0604020202020204" pitchFamily="34" charset="0"/>
                <a:buChar char="•"/>
              </a:pPr>
              <a:r>
                <a:rPr lang="en-US" sz="900" dirty="0">
                  <a:solidFill>
                    <a:schemeClr val="tx1"/>
                  </a:solidFill>
                </a:rPr>
                <a:t>Script searches for </a:t>
              </a:r>
              <a:r>
                <a:rPr lang="en-US" sz="900" dirty="0"/>
                <a:t>latest </a:t>
              </a:r>
              <a:r>
                <a:rPr lang="en-US" sz="900" dirty="0">
                  <a:solidFill>
                    <a:schemeClr val="tx1"/>
                  </a:solidFill>
                </a:rPr>
                <a:t>2DBC &amp; </a:t>
              </a:r>
              <a:r>
                <a:rPr lang="en-US" sz="900" dirty="0" err="1">
                  <a:solidFill>
                    <a:schemeClr val="tx1"/>
                  </a:solidFill>
                </a:rPr>
                <a:t>Mphas</a:t>
              </a:r>
              <a:r>
                <a:rPr lang="en-US" sz="900" dirty="0" err="1"/>
                <a:t>e</a:t>
              </a:r>
              <a:r>
                <a:rPr lang="en-US" sz="900" dirty="0"/>
                <a:t> files</a:t>
              </a:r>
            </a:p>
            <a:p>
              <a:pPr marL="171450" indent="-171450" algn="just">
                <a:lnSpc>
                  <a:spcPct val="110000"/>
                </a:lnSpc>
                <a:buFont typeface="Arial" panose="020B0604020202020204" pitchFamily="34" charset="0"/>
                <a:buChar char="•"/>
              </a:pPr>
              <a:r>
                <a:rPr lang="en-US" sz="900" dirty="0"/>
                <a:t>Checks if serial numbers in the 2DBC file is in the </a:t>
              </a:r>
              <a:r>
                <a:rPr lang="en-US" sz="900" dirty="0" err="1"/>
                <a:t>Mphase</a:t>
              </a:r>
              <a:r>
                <a:rPr lang="en-US" sz="900" dirty="0"/>
                <a:t> file &amp; check bin number</a:t>
              </a:r>
            </a:p>
            <a:p>
              <a:pPr marL="171450" indent="-171450" algn="just">
                <a:lnSpc>
                  <a:spcPct val="110000"/>
                </a:lnSpc>
                <a:buFont typeface="Arial" panose="020B0604020202020204" pitchFamily="34" charset="0"/>
                <a:buChar char="•"/>
              </a:pPr>
              <a:r>
                <a:rPr lang="en-US" sz="900" dirty="0"/>
                <a:t>Check for unit position to see if there is a unit present at specified position</a:t>
              </a:r>
            </a:p>
            <a:p>
              <a:pPr marL="171450" indent="-171450" algn="just">
                <a:lnSpc>
                  <a:spcPct val="110000"/>
                </a:lnSpc>
                <a:buFont typeface="Arial" panose="020B0604020202020204" pitchFamily="34" charset="0"/>
                <a:buChar char="•"/>
              </a:pPr>
              <a:r>
                <a:rPr lang="en-US" sz="900" dirty="0"/>
                <a:t>Display a indicator map   </a:t>
              </a:r>
              <a:endParaRPr lang="en-US" sz="9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457630" y="2413524"/>
            <a:ext cx="4901945" cy="4101179"/>
            <a:chOff x="457631" y="2460416"/>
            <a:chExt cx="4688750" cy="4101179"/>
          </a:xfrm>
        </p:grpSpPr>
        <p:pic>
          <p:nvPicPr>
            <p:cNvPr id="32" name="Picture 31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35337" y="2750119"/>
              <a:ext cx="4611044" cy="3811476"/>
            </a:xfrm>
            <a:prstGeom prst="rect">
              <a:avLst/>
            </a:prstGeom>
          </p:spPr>
        </p:pic>
        <p:sp>
          <p:nvSpPr>
            <p:cNvPr id="38" name="Rectangle 37"/>
            <p:cNvSpPr/>
            <p:nvPr/>
          </p:nvSpPr>
          <p:spPr>
            <a:xfrm>
              <a:off x="457631" y="2460416"/>
              <a:ext cx="2185022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200" b="1" u="sng" dirty="0"/>
                <a:t>Test Reject GUI Script Flow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8405102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liverab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Main Tasks performed During Projects (MTF GUI , PDF image processing)</a:t>
            </a:r>
          </a:p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For internal use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546670" y="1685150"/>
            <a:ext cx="4335992" cy="4200615"/>
            <a:chOff x="546670" y="1685150"/>
            <a:chExt cx="4335992" cy="4200615"/>
          </a:xfrm>
        </p:grpSpPr>
        <p:grpSp>
          <p:nvGrpSpPr>
            <p:cNvPr id="21" name="Group 20"/>
            <p:cNvGrpSpPr/>
            <p:nvPr/>
          </p:nvGrpSpPr>
          <p:grpSpPr>
            <a:xfrm>
              <a:off x="546670" y="1685150"/>
              <a:ext cx="4335992" cy="1538870"/>
              <a:chOff x="546670" y="1358900"/>
              <a:chExt cx="4335992" cy="1538870"/>
            </a:xfrm>
          </p:grpSpPr>
          <p:sp>
            <p:nvSpPr>
              <p:cNvPr id="7" name="Rounded Rectangle 6"/>
              <p:cNvSpPr/>
              <p:nvPr/>
            </p:nvSpPr>
            <p:spPr>
              <a:xfrm>
                <a:off x="546670" y="1542794"/>
                <a:ext cx="4335992" cy="1354976"/>
              </a:xfrm>
              <a:prstGeom prst="roundRect">
                <a:avLst/>
              </a:prstGeom>
              <a:ln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endParaRPr lang="en-US" sz="1100" b="1" u="sng" dirty="0">
                  <a:solidFill>
                    <a:schemeClr val="tx1"/>
                  </a:solidFill>
                </a:endParaRPr>
              </a:p>
              <a:p>
                <a:endParaRPr lang="en-US" sz="1100" b="1" u="sng" dirty="0">
                  <a:solidFill>
                    <a:schemeClr val="tx1"/>
                  </a:solidFill>
                </a:endParaRPr>
              </a:p>
              <a:p>
                <a:pPr>
                  <a:lnSpc>
                    <a:spcPct val="200000"/>
                  </a:lnSpc>
                </a:pPr>
                <a:r>
                  <a:rPr lang="en-US" sz="1200" b="1" u="sng" dirty="0">
                    <a:solidFill>
                      <a:schemeClr val="tx1"/>
                    </a:solidFill>
                  </a:rPr>
                  <a:t>MTF GUI Project Tasks</a:t>
                </a:r>
              </a:p>
              <a:p>
                <a:pPr marL="228600" indent="-228600">
                  <a:buFont typeface="+mj-lt"/>
                  <a:buAutoNum type="arabicPeriod"/>
                </a:pPr>
                <a:r>
                  <a:rPr lang="en-US" sz="1200" dirty="0">
                    <a:solidFill>
                      <a:schemeClr val="tx1"/>
                    </a:solidFill>
                  </a:rPr>
                  <a:t>Allow users to create new / load existing </a:t>
                </a:r>
                <a:r>
                  <a:rPr lang="en-US" sz="1200" dirty="0" err="1">
                    <a:solidFill>
                      <a:schemeClr val="tx1"/>
                    </a:solidFill>
                  </a:rPr>
                  <a:t>Config</a:t>
                </a:r>
                <a:r>
                  <a:rPr lang="en-US" sz="1200" dirty="0">
                    <a:solidFill>
                      <a:schemeClr val="tx1"/>
                    </a:solidFill>
                  </a:rPr>
                  <a:t> file </a:t>
                </a:r>
              </a:p>
              <a:p>
                <a:pPr marL="228600" indent="-228600">
                  <a:buFont typeface="+mj-lt"/>
                  <a:buAutoNum type="arabicPeriod"/>
                </a:pPr>
                <a:r>
                  <a:rPr lang="en-US" sz="1200" dirty="0">
                    <a:solidFill>
                      <a:schemeClr val="tx1"/>
                    </a:solidFill>
                  </a:rPr>
                  <a:t>Open multiple Wafer Map windows (of diff. frequencies)</a:t>
                </a:r>
              </a:p>
              <a:p>
                <a:pPr marL="228600" indent="-228600">
                  <a:buFont typeface="+mj-lt"/>
                  <a:buAutoNum type="arabicPeriod"/>
                </a:pPr>
                <a:r>
                  <a:rPr lang="en-US" sz="1200" dirty="0">
                    <a:solidFill>
                      <a:schemeClr val="tx1"/>
                    </a:solidFill>
                  </a:rPr>
                  <a:t>Toggle between Pass / Fail &amp; contoured Wafer maps</a:t>
                </a: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endParaRPr lang="en-US" sz="1100" dirty="0">
                  <a:solidFill>
                    <a:schemeClr val="tx1"/>
                  </a:solidFill>
                </a:endParaRP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endParaRPr lang="en-US" sz="1100" dirty="0">
                  <a:solidFill>
                    <a:schemeClr val="tx1"/>
                  </a:solidFill>
                </a:endParaRP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endParaRPr lang="en-US" sz="11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6" name="Oval 5"/>
              <p:cNvSpPr/>
              <p:nvPr/>
            </p:nvSpPr>
            <p:spPr>
              <a:xfrm>
                <a:off x="546670" y="1358900"/>
                <a:ext cx="398585" cy="388716"/>
              </a:xfrm>
              <a:prstGeom prst="ellips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/>
                  <a:t>1</a:t>
                </a:r>
              </a:p>
            </p:txBody>
          </p:sp>
        </p:grpSp>
        <p:pic>
          <p:nvPicPr>
            <p:cNvPr id="23" name="Picture 22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943193" y="3476191"/>
              <a:ext cx="3008802" cy="2409574"/>
            </a:xfrm>
            <a:prstGeom prst="rect">
              <a:avLst/>
            </a:prstGeom>
          </p:spPr>
        </p:pic>
      </p:grpSp>
      <p:grpSp>
        <p:nvGrpSpPr>
          <p:cNvPr id="26" name="Group 25"/>
          <p:cNvGrpSpPr/>
          <p:nvPr/>
        </p:nvGrpSpPr>
        <p:grpSpPr>
          <a:xfrm>
            <a:off x="6794483" y="1685150"/>
            <a:ext cx="4335992" cy="4089218"/>
            <a:chOff x="6531300" y="1685150"/>
            <a:chExt cx="4335992" cy="4089218"/>
          </a:xfrm>
        </p:grpSpPr>
        <p:grpSp>
          <p:nvGrpSpPr>
            <p:cNvPr id="20" name="Group 19"/>
            <p:cNvGrpSpPr/>
            <p:nvPr/>
          </p:nvGrpSpPr>
          <p:grpSpPr>
            <a:xfrm>
              <a:off x="6531300" y="1685150"/>
              <a:ext cx="4335992" cy="1549334"/>
              <a:chOff x="6987481" y="1348436"/>
              <a:chExt cx="4335992" cy="1549334"/>
            </a:xfrm>
          </p:grpSpPr>
          <p:sp>
            <p:nvSpPr>
              <p:cNvPr id="10" name="Rounded Rectangle 9"/>
              <p:cNvSpPr/>
              <p:nvPr/>
            </p:nvSpPr>
            <p:spPr>
              <a:xfrm>
                <a:off x="6987481" y="1542794"/>
                <a:ext cx="4335992" cy="1354976"/>
              </a:xfrm>
              <a:prstGeom prst="roundRect">
                <a:avLst/>
              </a:prstGeom>
              <a:ln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endParaRPr lang="en-US" sz="1200" b="1" u="sng" dirty="0">
                  <a:solidFill>
                    <a:schemeClr val="tx1"/>
                  </a:solidFill>
                </a:endParaRPr>
              </a:p>
              <a:p>
                <a:endParaRPr lang="en-US" sz="1200" b="1" u="sng" dirty="0">
                  <a:solidFill>
                    <a:schemeClr val="tx1"/>
                  </a:solidFill>
                </a:endParaRPr>
              </a:p>
              <a:p>
                <a:pPr>
                  <a:lnSpc>
                    <a:spcPct val="200000"/>
                  </a:lnSpc>
                </a:pPr>
                <a:r>
                  <a:rPr lang="en-US" sz="1200" b="1" u="sng" dirty="0">
                    <a:solidFill>
                      <a:schemeClr val="tx1"/>
                    </a:solidFill>
                  </a:rPr>
                  <a:t>PDF Image processing Project Tasks</a:t>
                </a:r>
              </a:p>
              <a:p>
                <a:pPr marL="228600" indent="-228600">
                  <a:buFont typeface="+mj-lt"/>
                  <a:buAutoNum type="arabicPeriod"/>
                </a:pPr>
                <a:r>
                  <a:rPr lang="en-US" sz="1200" dirty="0">
                    <a:solidFill>
                      <a:schemeClr val="tx1"/>
                    </a:solidFill>
                  </a:rPr>
                  <a:t>Find out file types of PDF files based on images</a:t>
                </a:r>
              </a:p>
              <a:p>
                <a:pPr marL="228600" indent="-228600">
                  <a:buFont typeface="+mj-lt"/>
                  <a:buAutoNum type="arabicPeriod"/>
                </a:pPr>
                <a:r>
                  <a:rPr lang="en-US" sz="1200" dirty="0">
                    <a:solidFill>
                      <a:schemeClr val="tx1"/>
                    </a:solidFill>
                  </a:rPr>
                  <a:t>Crop &amp; superimpose images and info by file type</a:t>
                </a:r>
              </a:p>
              <a:p>
                <a:pPr marL="228600" indent="-228600">
                  <a:buFont typeface="+mj-lt"/>
                  <a:buAutoNum type="arabicPeriod"/>
                </a:pPr>
                <a:r>
                  <a:rPr lang="en-US" sz="1200" dirty="0">
                    <a:solidFill>
                      <a:schemeClr val="tx1"/>
                    </a:solidFill>
                  </a:rPr>
                  <a:t>Place extracted images into a ‘Final Images’ folder</a:t>
                </a: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endParaRPr lang="en-US" sz="1200" dirty="0">
                  <a:solidFill>
                    <a:schemeClr val="tx1"/>
                  </a:solidFill>
                </a:endParaRP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endParaRPr lang="en-US" sz="1100" dirty="0">
                  <a:solidFill>
                    <a:schemeClr val="tx1"/>
                  </a:solidFill>
                </a:endParaRP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endParaRPr lang="en-US" sz="11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4" name="Oval 13"/>
              <p:cNvSpPr/>
              <p:nvPr/>
            </p:nvSpPr>
            <p:spPr>
              <a:xfrm>
                <a:off x="6987481" y="1348436"/>
                <a:ext cx="398585" cy="388716"/>
              </a:xfrm>
              <a:prstGeom prst="ellips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/>
                  <a:t>2</a:t>
                </a:r>
              </a:p>
            </p:txBody>
          </p:sp>
        </p:grpSp>
        <p:pic>
          <p:nvPicPr>
            <p:cNvPr id="24" name="Picture 23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22612" y="3608516"/>
              <a:ext cx="1258362" cy="216585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6425973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liverab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Main Tasks performed During Projects (PCP &amp; IQC generator , Test Reject GUI)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For internal use</a:t>
            </a:r>
          </a:p>
        </p:txBody>
      </p:sp>
      <p:grpSp>
        <p:nvGrpSpPr>
          <p:cNvPr id="23" name="Group 22"/>
          <p:cNvGrpSpPr/>
          <p:nvPr/>
        </p:nvGrpSpPr>
        <p:grpSpPr>
          <a:xfrm>
            <a:off x="6735965" y="1781800"/>
            <a:ext cx="4335993" cy="3742219"/>
            <a:chOff x="6525439" y="1404808"/>
            <a:chExt cx="4335993" cy="3834762"/>
          </a:xfrm>
        </p:grpSpPr>
        <p:grpSp>
          <p:nvGrpSpPr>
            <p:cNvPr id="19" name="Group 18"/>
            <p:cNvGrpSpPr/>
            <p:nvPr/>
          </p:nvGrpSpPr>
          <p:grpSpPr>
            <a:xfrm>
              <a:off x="6525439" y="1404808"/>
              <a:ext cx="4335993" cy="1522791"/>
              <a:chOff x="6987480" y="3046478"/>
              <a:chExt cx="4335993" cy="1522791"/>
            </a:xfrm>
          </p:grpSpPr>
          <p:sp>
            <p:nvSpPr>
              <p:cNvPr id="11" name="Rounded Rectangle 10"/>
              <p:cNvSpPr/>
              <p:nvPr/>
            </p:nvSpPr>
            <p:spPr>
              <a:xfrm>
                <a:off x="6987481" y="3214293"/>
                <a:ext cx="4335992" cy="1354976"/>
              </a:xfrm>
              <a:prstGeom prst="roundRect">
                <a:avLst/>
              </a:prstGeom>
              <a:ln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tIns="45720" rtlCol="0" anchor="ctr"/>
              <a:lstStyle/>
              <a:p>
                <a:endParaRPr lang="en-US" sz="1200" b="1" u="sng" dirty="0">
                  <a:solidFill>
                    <a:schemeClr val="tx1"/>
                  </a:solidFill>
                </a:endParaRPr>
              </a:p>
              <a:p>
                <a:pPr>
                  <a:lnSpc>
                    <a:spcPct val="200000"/>
                  </a:lnSpc>
                </a:pPr>
                <a:r>
                  <a:rPr lang="en-US" sz="1200" b="1" u="sng" dirty="0">
                    <a:solidFill>
                      <a:schemeClr val="tx1"/>
                    </a:solidFill>
                  </a:rPr>
                  <a:t>Test Reject GUI Project Tasks</a:t>
                </a:r>
              </a:p>
              <a:p>
                <a:pPr marL="228600" indent="-228600">
                  <a:buFont typeface="+mj-lt"/>
                  <a:buAutoNum type="arabicPeriod"/>
                </a:pPr>
                <a:r>
                  <a:rPr lang="en-US" sz="1200" dirty="0">
                    <a:solidFill>
                      <a:schemeClr val="tx1"/>
                    </a:solidFill>
                  </a:rPr>
                  <a:t>Find latest </a:t>
                </a:r>
                <a:r>
                  <a:rPr lang="en-US" sz="1200" dirty="0" err="1">
                    <a:solidFill>
                      <a:schemeClr val="tx1"/>
                    </a:solidFill>
                  </a:rPr>
                  <a:t>Mphase</a:t>
                </a:r>
                <a:r>
                  <a:rPr lang="en-US" sz="1200" dirty="0">
                    <a:solidFill>
                      <a:schemeClr val="tx1"/>
                    </a:solidFill>
                  </a:rPr>
                  <a:t> &amp; 2DBC files by given Lot Number</a:t>
                </a:r>
              </a:p>
              <a:p>
                <a:pPr marL="228600" indent="-228600">
                  <a:buFont typeface="+mj-lt"/>
                  <a:buAutoNum type="arabicPeriod"/>
                </a:pPr>
                <a:r>
                  <a:rPr lang="en-US" sz="1200" dirty="0">
                    <a:solidFill>
                      <a:schemeClr val="tx1"/>
                    </a:solidFill>
                  </a:rPr>
                  <a:t>Display Bin Number for each unit unless not found </a:t>
                </a:r>
              </a:p>
              <a:p>
                <a:pPr marL="228600" indent="-228600">
                  <a:buFont typeface="+mj-lt"/>
                  <a:buAutoNum type="arabicPeriod"/>
                </a:pPr>
                <a:r>
                  <a:rPr lang="en-US" sz="1200" dirty="0">
                    <a:solidFill>
                      <a:schemeClr val="tx1"/>
                    </a:solidFill>
                  </a:rPr>
                  <a:t>Display ‘X’ if ‘NO READ’ or no unit at position</a:t>
                </a: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endParaRPr lang="en-US" sz="1100" dirty="0">
                  <a:solidFill>
                    <a:schemeClr val="tx1"/>
                  </a:solidFill>
                </a:endParaRP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endParaRPr lang="en-US" sz="11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5" name="Oval 14"/>
              <p:cNvSpPr/>
              <p:nvPr/>
            </p:nvSpPr>
            <p:spPr>
              <a:xfrm>
                <a:off x="6987480" y="3046478"/>
                <a:ext cx="398585" cy="388716"/>
              </a:xfrm>
              <a:prstGeom prst="ellips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/>
                  <a:t>4</a:t>
                </a:r>
              </a:p>
            </p:txBody>
          </p:sp>
        </p:grpSp>
        <p:pic>
          <p:nvPicPr>
            <p:cNvPr id="22" name="Picture 21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25439" y="3219471"/>
              <a:ext cx="4335993" cy="2020099"/>
            </a:xfrm>
            <a:prstGeom prst="rect">
              <a:avLst/>
            </a:prstGeom>
          </p:spPr>
        </p:pic>
      </p:grpSp>
      <p:grpSp>
        <p:nvGrpSpPr>
          <p:cNvPr id="18" name="Group 17"/>
          <p:cNvGrpSpPr/>
          <p:nvPr/>
        </p:nvGrpSpPr>
        <p:grpSpPr>
          <a:xfrm>
            <a:off x="546670" y="1781800"/>
            <a:ext cx="4338054" cy="1521830"/>
            <a:chOff x="544608" y="3046478"/>
            <a:chExt cx="4338054" cy="1521830"/>
          </a:xfrm>
        </p:grpSpPr>
        <p:sp>
          <p:nvSpPr>
            <p:cNvPr id="8" name="Rounded Rectangle 7"/>
            <p:cNvSpPr/>
            <p:nvPr/>
          </p:nvSpPr>
          <p:spPr>
            <a:xfrm>
              <a:off x="546670" y="3213332"/>
              <a:ext cx="4335992" cy="1354976"/>
            </a:xfrm>
            <a:prstGeom prst="roundRect">
              <a:avLst/>
            </a:prstGeom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endParaRPr lang="en-US" sz="1200" b="1" u="sng" dirty="0">
                <a:solidFill>
                  <a:schemeClr val="tx1"/>
                </a:solidFill>
              </a:endParaRPr>
            </a:p>
            <a:p>
              <a:pPr>
                <a:lnSpc>
                  <a:spcPct val="200000"/>
                </a:lnSpc>
              </a:pPr>
              <a:r>
                <a:rPr lang="en-US" sz="1200" b="1" u="sng" dirty="0">
                  <a:solidFill>
                    <a:schemeClr val="tx1"/>
                  </a:solidFill>
                </a:rPr>
                <a:t>PCP &amp; IQC Generator Project Tasks</a:t>
              </a:r>
            </a:p>
            <a:p>
              <a:pPr marL="228600" indent="-228600">
                <a:buFont typeface="+mj-lt"/>
                <a:buAutoNum type="arabicPeriod"/>
              </a:pPr>
              <a:r>
                <a:rPr lang="en-US" sz="1200" dirty="0">
                  <a:solidFill>
                    <a:schemeClr val="tx1"/>
                  </a:solidFill>
                </a:rPr>
                <a:t>Find remark names &amp; range of rows for remarks</a:t>
              </a:r>
            </a:p>
            <a:p>
              <a:pPr marL="228600" indent="-228600">
                <a:buFont typeface="+mj-lt"/>
                <a:buAutoNum type="arabicPeriod"/>
              </a:pPr>
              <a:r>
                <a:rPr lang="en-US" sz="1200" dirty="0">
                  <a:solidFill>
                    <a:schemeClr val="tx1"/>
                  </a:solidFill>
                </a:rPr>
                <a:t>Copy chosen remarks from selected worksheet</a:t>
              </a:r>
            </a:p>
            <a:p>
              <a:pPr marL="228600" indent="-228600">
                <a:buFont typeface="+mj-lt"/>
                <a:buAutoNum type="arabicPeriod"/>
              </a:pPr>
              <a:r>
                <a:rPr lang="en-US" sz="1200" dirty="0">
                  <a:solidFill>
                    <a:schemeClr val="tx1"/>
                  </a:solidFill>
                </a:rPr>
                <a:t>Completed plan exported to new control plan file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endParaRPr lang="en-US" sz="1100" dirty="0">
                <a:solidFill>
                  <a:schemeClr val="tx1"/>
                </a:solidFill>
              </a:endParaRPr>
            </a:p>
            <a:p>
              <a:pPr marL="171450" indent="-171450">
                <a:buFont typeface="Arial" panose="020B0604020202020204" pitchFamily="34" charset="0"/>
                <a:buChar char="•"/>
              </a:pPr>
              <a:endParaRPr lang="en-US" sz="1100" dirty="0">
                <a:solidFill>
                  <a:schemeClr val="tx1"/>
                </a:solidFill>
              </a:endParaRPr>
            </a:p>
          </p:txBody>
        </p:sp>
        <p:sp>
          <p:nvSpPr>
            <p:cNvPr id="16" name="Oval 15"/>
            <p:cNvSpPr/>
            <p:nvPr/>
          </p:nvSpPr>
          <p:spPr>
            <a:xfrm>
              <a:off x="544608" y="3046478"/>
              <a:ext cx="398585" cy="388716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3</a:t>
              </a:r>
            </a:p>
          </p:txBody>
        </p:sp>
      </p:grp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6670" y="3657600"/>
            <a:ext cx="4338054" cy="18664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428726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liverab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Main Tasks performed During Projects (Angel wings plot)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For internal us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61430" y="3200401"/>
            <a:ext cx="4676047" cy="2969616"/>
          </a:xfrm>
          <a:prstGeom prst="rect">
            <a:avLst/>
          </a:prstGeom>
        </p:spPr>
      </p:pic>
      <p:grpSp>
        <p:nvGrpSpPr>
          <p:cNvPr id="9" name="Group 8"/>
          <p:cNvGrpSpPr/>
          <p:nvPr/>
        </p:nvGrpSpPr>
        <p:grpSpPr>
          <a:xfrm>
            <a:off x="3562138" y="1723036"/>
            <a:ext cx="5045237" cy="1148414"/>
            <a:chOff x="546670" y="1501411"/>
            <a:chExt cx="5045237" cy="1148414"/>
          </a:xfrm>
        </p:grpSpPr>
        <p:sp>
          <p:nvSpPr>
            <p:cNvPr id="13" name="Rounded Rectangle 12"/>
            <p:cNvSpPr/>
            <p:nvPr/>
          </p:nvSpPr>
          <p:spPr>
            <a:xfrm>
              <a:off x="578836" y="1699846"/>
              <a:ext cx="5013071" cy="949979"/>
            </a:xfrm>
            <a:prstGeom prst="roundRect">
              <a:avLst/>
            </a:prstGeom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tIns="0" bIns="274320" rtlCol="0" anchor="ctr"/>
            <a:lstStyle/>
            <a:p>
              <a:endParaRPr lang="en-US" sz="1200" b="1" u="sng" dirty="0">
                <a:solidFill>
                  <a:schemeClr val="tx1"/>
                </a:solidFill>
              </a:endParaRPr>
            </a:p>
            <a:p>
              <a:endParaRPr lang="en-US" sz="1200" b="1" u="sng" dirty="0">
                <a:solidFill>
                  <a:schemeClr val="tx1"/>
                </a:solidFill>
              </a:endParaRPr>
            </a:p>
            <a:p>
              <a:endParaRPr lang="en-US" sz="1200" b="1" u="sng" dirty="0">
                <a:solidFill>
                  <a:schemeClr val="tx1"/>
                </a:solidFill>
              </a:endParaRPr>
            </a:p>
            <a:p>
              <a:pPr>
                <a:lnSpc>
                  <a:spcPct val="200000"/>
                </a:lnSpc>
              </a:pPr>
              <a:r>
                <a:rPr lang="en-US" sz="1200" b="1" u="sng" dirty="0">
                  <a:solidFill>
                    <a:schemeClr val="tx1"/>
                  </a:solidFill>
                </a:rPr>
                <a:t>Angel wings Project Tasks</a:t>
              </a:r>
            </a:p>
            <a:p>
              <a:pPr marL="228600" indent="-228600">
                <a:buFont typeface="+mj-lt"/>
                <a:buAutoNum type="arabicPeriod"/>
              </a:pPr>
              <a:r>
                <a:rPr lang="en-US" sz="1200" dirty="0">
                  <a:solidFill>
                    <a:schemeClr val="tx1"/>
                  </a:solidFill>
                </a:rPr>
                <a:t>Plot graph by specific build (POC-C-II , Plain)</a:t>
              </a:r>
            </a:p>
            <a:p>
              <a:pPr marL="228600" indent="-228600">
                <a:buFont typeface="+mj-lt"/>
                <a:buAutoNum type="arabicPeriod"/>
              </a:pPr>
              <a:r>
                <a:rPr lang="en-US" sz="1200" dirty="0">
                  <a:solidFill>
                    <a:schemeClr val="tx1"/>
                  </a:solidFill>
                </a:rPr>
                <a:t>Color plotted graphs by direction and by FEC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endParaRPr lang="en-US" sz="1100" dirty="0">
                <a:solidFill>
                  <a:schemeClr val="tx1"/>
                </a:solidFill>
              </a:endParaRPr>
            </a:p>
            <a:p>
              <a:pPr marL="171450" indent="-171450">
                <a:buFont typeface="Arial" panose="020B0604020202020204" pitchFamily="34" charset="0"/>
                <a:buChar char="•"/>
              </a:pPr>
              <a:endParaRPr lang="en-US" sz="1100" dirty="0">
                <a:solidFill>
                  <a:schemeClr val="tx1"/>
                </a:solidFill>
              </a:endParaRPr>
            </a:p>
          </p:txBody>
        </p:sp>
        <p:sp>
          <p:nvSpPr>
            <p:cNvPr id="20" name="Oval 19"/>
            <p:cNvSpPr/>
            <p:nvPr/>
          </p:nvSpPr>
          <p:spPr>
            <a:xfrm>
              <a:off x="546670" y="1501411"/>
              <a:ext cx="398585" cy="388716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5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023541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32pUYI53hNLrChHNekEP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32pUYI53hNLrChHNekEP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32pUYI53hNLrChHNekEP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32pUYI53hNLrChHNekEP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32pUYI53hNLrChHNekEP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32pUYI53hNLrChHNekEP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32pUYI53hNLrChHNekEP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32pUYI53hNLrChHNekEP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heme/theme1.xml><?xml version="1.0" encoding="utf-8"?>
<a:theme xmlns:a="http://schemas.openxmlformats.org/drawingml/2006/main" name="1_Office Theme">
  <a:themeElements>
    <a:clrScheme name="ams OSRAM 1">
      <a:dk1>
        <a:srgbClr val="1D242C"/>
      </a:dk1>
      <a:lt1>
        <a:srgbClr val="FDF6F1"/>
      </a:lt1>
      <a:dk2>
        <a:srgbClr val="46555F"/>
      </a:dk2>
      <a:lt2>
        <a:srgbClr val="FD5000"/>
      </a:lt2>
      <a:accent1>
        <a:srgbClr val="00ADFD"/>
      </a:accent1>
      <a:accent2>
        <a:srgbClr val="AA00FF"/>
      </a:accent2>
      <a:accent3>
        <a:srgbClr val="00E676"/>
      </a:accent3>
      <a:accent4>
        <a:srgbClr val="FFEA00"/>
      </a:accent4>
      <a:accent5>
        <a:srgbClr val="FF0055"/>
      </a:accent5>
      <a:accent6>
        <a:srgbClr val="FF5B81"/>
      </a:accent6>
      <a:hlink>
        <a:srgbClr val="FD5000"/>
      </a:hlink>
      <a:folHlink>
        <a:srgbClr val="46555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lIns="0" tIns="0" rIns="0" bIns="0" rtlCol="0">
        <a:spAutoFit/>
      </a:bodyPr>
      <a:lstStyle>
        <a:defPPr algn="l">
          <a:lnSpc>
            <a:spcPct val="110000"/>
          </a:lnSpc>
          <a:defRPr sz="150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 Master ams OSRAM 210701" id="{D9AD165C-B816-4133-8646-BF5F9E072941}" vid="{AA4B8C6E-20C7-4E11-B879-B5B16EF2C0F0}"/>
    </a:ext>
  </a:extLst>
</a:theme>
</file>

<file path=ppt/theme/theme2.xml><?xml version="1.0" encoding="utf-8"?>
<a:theme xmlns:a="http://schemas.openxmlformats.org/drawingml/2006/main" name="ams 16:9 Master">
  <a:themeElements>
    <a:clrScheme name="ams PowerPoint">
      <a:dk1>
        <a:srgbClr val="46555F"/>
      </a:dk1>
      <a:lt1>
        <a:sysClr val="window" lastClr="FFFFFF"/>
      </a:lt1>
      <a:dk2>
        <a:srgbClr val="0075B0"/>
      </a:dk2>
      <a:lt2>
        <a:srgbClr val="D4D6D8"/>
      </a:lt2>
      <a:accent1>
        <a:srgbClr val="46555F"/>
      </a:accent1>
      <a:accent2>
        <a:srgbClr val="0075B0"/>
      </a:accent2>
      <a:accent3>
        <a:srgbClr val="8DBE22"/>
      </a:accent3>
      <a:accent4>
        <a:srgbClr val="EDE43E"/>
      </a:accent4>
      <a:accent5>
        <a:srgbClr val="F28F0E"/>
      </a:accent5>
      <a:accent6>
        <a:srgbClr val="C66AA6"/>
      </a:accent6>
      <a:hlink>
        <a:srgbClr val="0000FF"/>
      </a:hlink>
      <a:folHlink>
        <a:srgbClr val="800080"/>
      </a:folHlink>
    </a:clrScheme>
    <a:fontScheme name="ams PowerPoi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solidFill>
            <a:schemeClr val="tx1">
              <a:lumMod val="75000"/>
            </a:schemeClr>
          </a:solidFill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>
      <a:srgbClr val="AEB4BE"/>
    </a:custClr>
    <a:custClr>
      <a:srgbClr val="6EC3C7"/>
    </a:custClr>
    <a:custClr>
      <a:srgbClr val="58B685"/>
    </a:custClr>
    <a:custClr>
      <a:srgbClr val="EAB00C"/>
    </a:custClr>
    <a:custClr>
      <a:srgbClr val="9580BA"/>
    </a:custClr>
    <a:custClr>
      <a:srgbClr val="D4A2CA"/>
    </a:custClr>
  </a:custClrLst>
  <a:extLst>
    <a:ext uri="{05A4C25C-085E-4340-85A3-A5531E510DB2}">
      <thm15:themeFamily xmlns:thm15="http://schemas.microsoft.com/office/thememl/2012/main" name="Presentation1" id="{3FC70D65-4EC8-41AC-9B1E-5E6A7E841E9A}" vid="{6DB21B64-E253-4DE4-AA62-2037F919FFC4}"/>
    </a:ext>
  </a:extLst>
</a:theme>
</file>

<file path=ppt/theme/theme3.xml><?xml version="1.0" encoding="utf-8"?>
<a:theme xmlns:a="http://schemas.openxmlformats.org/drawingml/2006/main" name="ams_OSRAM new">
  <a:themeElements>
    <a:clrScheme name="ams OSRAM Transitional Design">
      <a:dk1>
        <a:srgbClr val="4B4B4A"/>
      </a:dk1>
      <a:lt1>
        <a:srgbClr val="FFFFFF"/>
      </a:lt1>
      <a:dk2>
        <a:srgbClr val="46555F"/>
      </a:dk2>
      <a:lt2>
        <a:srgbClr val="FFFFFF"/>
      </a:lt2>
      <a:accent1>
        <a:srgbClr val="C9C9C8"/>
      </a:accent1>
      <a:accent2>
        <a:srgbClr val="FF6600"/>
      </a:accent2>
      <a:accent3>
        <a:srgbClr val="66ADD0"/>
      </a:accent3>
      <a:accent4>
        <a:srgbClr val="0075B0"/>
      </a:accent4>
      <a:accent5>
        <a:srgbClr val="F0461C"/>
      </a:accent5>
      <a:accent6>
        <a:srgbClr val="939392"/>
      </a:accent6>
      <a:hlink>
        <a:srgbClr val="0075B0"/>
      </a:hlink>
      <a:folHlink>
        <a:srgbClr val="F0461C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sz="16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46555F"/>
        </a:dk2>
        <a:lt2>
          <a:srgbClr val="FFFFFF"/>
        </a:lt2>
        <a:accent1>
          <a:srgbClr val="D4D6DA"/>
        </a:accent1>
        <a:accent2>
          <a:srgbClr val="FABE00"/>
        </a:accent2>
        <a:accent3>
          <a:srgbClr val="0ABAC7"/>
        </a:accent3>
        <a:accent4>
          <a:srgbClr val="0075B0"/>
        </a:accent4>
        <a:accent5>
          <a:srgbClr val="F0461C"/>
        </a:accent5>
        <a:accent6>
          <a:srgbClr val="808080"/>
        </a:accent6>
        <a:hlink>
          <a:srgbClr val="46555F"/>
        </a:hlink>
        <a:folHlink>
          <a:srgbClr val="0075B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ams_OSRAM new" id="{BF72378B-AFDE-40A1-8B5D-AFA31217B236}" vid="{F476A6EF-358B-448D-BFB0-B0D66D6DE2D9}"/>
    </a:ext>
  </a:extLst>
</a:theme>
</file>

<file path=ppt/theme/theme4.xml><?xml version="1.0" encoding="utf-8"?>
<a:theme xmlns:a="http://schemas.openxmlformats.org/drawingml/2006/main" name="1_ams_OSRAM new">
  <a:themeElements>
    <a:clrScheme name="ams OSRAM Transitional Design">
      <a:dk1>
        <a:srgbClr val="4B4B4A"/>
      </a:dk1>
      <a:lt1>
        <a:srgbClr val="FFFFFF"/>
      </a:lt1>
      <a:dk2>
        <a:srgbClr val="46555F"/>
      </a:dk2>
      <a:lt2>
        <a:srgbClr val="FFFFFF"/>
      </a:lt2>
      <a:accent1>
        <a:srgbClr val="C9C9C8"/>
      </a:accent1>
      <a:accent2>
        <a:srgbClr val="FF6600"/>
      </a:accent2>
      <a:accent3>
        <a:srgbClr val="66ADD0"/>
      </a:accent3>
      <a:accent4>
        <a:srgbClr val="0075B0"/>
      </a:accent4>
      <a:accent5>
        <a:srgbClr val="F0461C"/>
      </a:accent5>
      <a:accent6>
        <a:srgbClr val="939392"/>
      </a:accent6>
      <a:hlink>
        <a:srgbClr val="0075B0"/>
      </a:hlink>
      <a:folHlink>
        <a:srgbClr val="F0461C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sz="16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46555F"/>
        </a:dk2>
        <a:lt2>
          <a:srgbClr val="FFFFFF"/>
        </a:lt2>
        <a:accent1>
          <a:srgbClr val="D4D6DA"/>
        </a:accent1>
        <a:accent2>
          <a:srgbClr val="FABE00"/>
        </a:accent2>
        <a:accent3>
          <a:srgbClr val="0ABAC7"/>
        </a:accent3>
        <a:accent4>
          <a:srgbClr val="0075B0"/>
        </a:accent4>
        <a:accent5>
          <a:srgbClr val="F0461C"/>
        </a:accent5>
        <a:accent6>
          <a:srgbClr val="808080"/>
        </a:accent6>
        <a:hlink>
          <a:srgbClr val="46555F"/>
        </a:hlink>
        <a:folHlink>
          <a:srgbClr val="0075B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ams_OSRAM new" id="{BF72378B-AFDE-40A1-8B5D-AFA31217B236}" vid="{F476A6EF-358B-448D-BFB0-B0D66D6DE2D9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Corporate Template Center Document" ma:contentTypeID="0x010100D5059C42A7EB564AB9004D372A22083800CD1243FB55D09148AFF6A44853DBF130" ma:contentTypeVersion="17" ma:contentTypeDescription="" ma:contentTypeScope="" ma:versionID="f9996cbcfee17c8491c0c44810b18b86">
  <xsd:schema xmlns:xsd="http://www.w3.org/2001/XMLSchema" xmlns:xs="http://www.w3.org/2001/XMLSchema" xmlns:p="http://schemas.microsoft.com/office/2006/metadata/properties" xmlns:ns2="1e207520-be24-41f9-8afd-5afc1c3ee385" xmlns:ns3="86de8680-9a96-4f84-b839-50f451794bc8" xmlns:ns4="74ffb7e6-092d-4538-a09d-7e0bb066b0b7" xmlns:ns5="http://schemas.microsoft.com/sharepoint/v4" targetNamespace="http://schemas.microsoft.com/office/2006/metadata/properties" ma:root="true" ma:fieldsID="07160deb334e1a94322101bff0650f86" ns2:_="" ns3:_="" ns4:_="" ns5:_="">
    <xsd:import namespace="1e207520-be24-41f9-8afd-5afc1c3ee385"/>
    <xsd:import namespace="86de8680-9a96-4f84-b839-50f451794bc8"/>
    <xsd:import namespace="74ffb7e6-092d-4538-a09d-7e0bb066b0b7"/>
    <xsd:import namespace="http://schemas.microsoft.com/sharepoint/v4"/>
    <xsd:element name="properties">
      <xsd:complexType>
        <xsd:sequence>
          <xsd:element name="documentManagement">
            <xsd:complexType>
              <xsd:all>
                <xsd:element ref="ns2:Process_x0020_Owner" minOccurs="0"/>
                <xsd:element ref="ns3:Status" minOccurs="0"/>
                <xsd:element ref="ns3:Internal_x0020_Comments" minOccurs="0"/>
                <xsd:element ref="ns3:General_x0020_Info" minOccurs="0"/>
                <xsd:element ref="ns3:Class" minOccurs="0"/>
                <xsd:element ref="ns4:_dlc_DocId" minOccurs="0"/>
                <xsd:element ref="ns4:_dlc_DocIdUrl" minOccurs="0"/>
                <xsd:element ref="ns4:_dlc_DocIdPersistId" minOccurs="0"/>
                <xsd:element ref="ns5:IconOverlay" minOccurs="0"/>
                <xsd:element ref="ns4:TaxCatchAll" minOccurs="0"/>
                <xsd:element ref="ns4:TaxCatchAllLabel" minOccurs="0"/>
                <xsd:element ref="ns2:MP_UserTags" minOccurs="0"/>
                <xsd:element ref="ns2:MP_InheritedTag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e207520-be24-41f9-8afd-5afc1c3ee385" elementFormDefault="qualified">
    <xsd:import namespace="http://schemas.microsoft.com/office/2006/documentManagement/types"/>
    <xsd:import namespace="http://schemas.microsoft.com/office/infopath/2007/PartnerControls"/>
    <xsd:element name="Process_x0020_Owner" ma:index="2" nillable="true" ma:displayName="Template Owner" ma:list="UserInfo" ma:SearchPeopleOnly="false" ma:SharePointGroup="0" ma:internalName="Process_x0020_Owner0" ma:showField="EMail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MP_UserTags" ma:index="20" nillable="true" ma:displayName="Tags" ma:hidden="true" ma:internalName="MP_UserTags" ma:readOnly="false">
      <xsd:simpleType>
        <xsd:restriction base="dms:Unknown"/>
      </xsd:simpleType>
    </xsd:element>
    <xsd:element name="MP_InheritedTags" ma:index="21" nillable="true" ma:displayName="Inherited Tags" ma:hidden="true" ma:internalName="MP_InheritedTags" ma:readOnly="fals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de8680-9a96-4f84-b839-50f451794bc8" elementFormDefault="qualified">
    <xsd:import namespace="http://schemas.microsoft.com/office/2006/documentManagement/types"/>
    <xsd:import namespace="http://schemas.microsoft.com/office/infopath/2007/PartnerControls"/>
    <xsd:element name="Status" ma:index="4" nillable="true" ma:displayName="Status" ma:default="active" ma:format="Dropdown" ma:internalName="Status">
      <xsd:simpleType>
        <xsd:restriction base="dms:Choice">
          <xsd:enumeration value="active"/>
          <xsd:enumeration value="in progress"/>
          <xsd:enumeration value="replaced"/>
        </xsd:restriction>
      </xsd:simpleType>
    </xsd:element>
    <xsd:element name="Internal_x0020_Comments" ma:index="5" nillable="true" ma:displayName="Internal Comments" ma:internalName="Internal_x0020_Comments">
      <xsd:simpleType>
        <xsd:restriction base="dms:Note">
          <xsd:maxLength value="255"/>
        </xsd:restriction>
      </xsd:simpleType>
    </xsd:element>
    <xsd:element name="General_x0020_Info" ma:index="6" nillable="true" ma:displayName="General Info" ma:internalName="General_x0020_Info">
      <xsd:simpleType>
        <xsd:restriction base="dms:Note">
          <xsd:maxLength value="255"/>
        </xsd:restriction>
      </xsd:simpleType>
    </xsd:element>
    <xsd:element name="Class" ma:index="7" nillable="true" ma:displayName="Class" ma:default="Class 1" ma:format="Dropdown" ma:internalName="Class">
      <xsd:simpleType>
        <xsd:restriction base="dms:Choice">
          <xsd:enumeration value="Class 1"/>
          <xsd:enumeration value="Class 2"/>
          <xsd:enumeration value="Class 3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4ffb7e6-092d-4538-a09d-7e0bb066b0b7" elementFormDefault="qualified">
    <xsd:import namespace="http://schemas.microsoft.com/office/2006/documentManagement/types"/>
    <xsd:import namespace="http://schemas.microsoft.com/office/infopath/2007/PartnerControls"/>
    <xsd:element name="_dlc_DocId" ma:index="12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13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4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TaxCatchAll" ma:index="16" nillable="true" ma:displayName="Taxonomy Catch All Column" ma:hidden="true" ma:list="{6efaa0ca-047d-4c82-8aad-d427f688b28f}" ma:internalName="TaxCatchAll" ma:showField="CatchAllData" ma:web="1e207520-be24-41f9-8afd-5afc1c3ee38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7" nillable="true" ma:displayName="Taxonomy Catch All Column1" ma:hidden="true" ma:list="{6efaa0ca-047d-4c82-8aad-d427f688b28f}" ma:internalName="TaxCatchAllLabel" ma:readOnly="true" ma:showField="CatchAllDataLabel" ma:web="1e207520-be24-41f9-8afd-5afc1c3ee38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4" elementFormDefault="qualified">
    <xsd:import namespace="http://schemas.microsoft.com/office/2006/documentManagement/types"/>
    <xsd:import namespace="http://schemas.microsoft.com/office/infopath/2007/PartnerControls"/>
    <xsd:element name="IconOverlay" ma:index="15" nillable="true" ma:displayName="IconOverlay" ma:hidden="true" ma:internalName="IconOverlay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8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P_UserTags xmlns="1e207520-be24-41f9-8afd-5afc1c3ee385">((or12)(or8))</MP_UserTags>
    <General_x0020_Info xmlns="86de8680-9a96-4f84-b839-50f451794bc8" xsi:nil="true"/>
    <TaxCatchAll xmlns="74ffb7e6-092d-4538-a09d-7e0bb066b0b7"/>
    <IconOverlay xmlns="http://schemas.microsoft.com/sharepoint/v4" xsi:nil="true"/>
    <Internal_x0020_Comments xmlns="86de8680-9a96-4f84-b839-50f451794bc8" xsi:nil="true"/>
    <Class xmlns="86de8680-9a96-4f84-b839-50f451794bc8">Class 1</Class>
    <Process_x0020_Owner xmlns="1e207520-be24-41f9-8afd-5afc1c3ee385">
      <UserInfo>
        <DisplayName>Schleip, Eva-Maria</DisplayName>
        <AccountId>867</AccountId>
        <AccountType/>
      </UserInfo>
    </Process_x0020_Owner>
    <MP_InheritedTags xmlns="1e207520-be24-41f9-8afd-5afc1c3ee385" xsi:nil="true"/>
    <Status xmlns="86de8680-9a96-4f84-b839-50f451794bc8">active</Status>
    <_dlc_DocId xmlns="74ffb7e6-092d-4538-a09d-7e0bb066b0b7">1-10001076-5-1323</_dlc_DocId>
    <_dlc_DocIdUrl xmlns="74ffb7e6-092d-4538-a09d-7e0bb066b0b7">
      <Url>https://global-intranet.osram-light.com/sites/FormsTemplates/_layouts/15/DocIdRedir.aspx?ID=1-10001076-5-1323</Url>
      <Description>1-10001076-5-1323</Description>
    </_dlc_DocIdUrl>
  </documentManagement>
</p:properties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2897D294-C7E5-4E0B-AEF3-A09880E89FF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B9CEF5E-DEF7-44DF-A414-A2BC4907E19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e207520-be24-41f9-8afd-5afc1c3ee385"/>
    <ds:schemaRef ds:uri="86de8680-9a96-4f84-b839-50f451794bc8"/>
    <ds:schemaRef ds:uri="74ffb7e6-092d-4538-a09d-7e0bb066b0b7"/>
    <ds:schemaRef ds:uri="http://schemas.microsoft.com/sharepoint/v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0C09611-F376-4225-BAC3-3EC1A531D8D0}">
  <ds:schemaRefs>
    <ds:schemaRef ds:uri="http://purl.org/dc/elements/1.1/"/>
    <ds:schemaRef ds:uri="http://purl.org/dc/terms/"/>
    <ds:schemaRef ds:uri="http://schemas.microsoft.com/office/2006/metadata/properties"/>
    <ds:schemaRef ds:uri="http://schemas.microsoft.com/office/infopath/2007/PartnerControls"/>
    <ds:schemaRef ds:uri="http://www.w3.org/XML/1998/namespace"/>
    <ds:schemaRef ds:uri="http://schemas.openxmlformats.org/package/2006/metadata/core-properties"/>
    <ds:schemaRef ds:uri="http://purl.org/dc/dcmitype/"/>
    <ds:schemaRef ds:uri="86de8680-9a96-4f84-b839-50f451794bc8"/>
    <ds:schemaRef ds:uri="http://schemas.microsoft.com/office/2006/documentManagement/types"/>
    <ds:schemaRef ds:uri="http://schemas.microsoft.com/sharepoint/v4"/>
    <ds:schemaRef ds:uri="74ffb7e6-092d-4538-a09d-7e0bb066b0b7"/>
    <ds:schemaRef ds:uri="1e207520-be24-41f9-8afd-5afc1c3ee385"/>
  </ds:schemaRefs>
</ds:datastoreItem>
</file>

<file path=customXml/itemProps4.xml><?xml version="1.0" encoding="utf-8"?>
<ds:datastoreItem xmlns:ds="http://schemas.openxmlformats.org/officeDocument/2006/customXml" ds:itemID="{78500FFA-C124-40CE-85DC-E8B4A4907515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4417</TotalTime>
  <Words>957</Words>
  <Application>Microsoft Office PowerPoint</Application>
  <PresentationFormat>Widescreen</PresentationFormat>
  <Paragraphs>200</Paragraphs>
  <Slides>12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2</vt:i4>
      </vt:variant>
    </vt:vector>
  </HeadingPairs>
  <TitlesOfParts>
    <vt:vector size="24" baseType="lpstr">
      <vt:lpstr>System Font Regular</vt:lpstr>
      <vt:lpstr>Arial</vt:lpstr>
      <vt:lpstr>Calibri</vt:lpstr>
      <vt:lpstr>Courier New</vt:lpstr>
      <vt:lpstr>Symbol</vt:lpstr>
      <vt:lpstr>Wingdings</vt:lpstr>
      <vt:lpstr>1_Office Theme</vt:lpstr>
      <vt:lpstr>ams 16:9 Master</vt:lpstr>
      <vt:lpstr>ams_OSRAM new</vt:lpstr>
      <vt:lpstr>1_ams_OSRAM new</vt:lpstr>
      <vt:lpstr>think-cell Slide</vt:lpstr>
      <vt:lpstr>think-cell Folie</vt:lpstr>
      <vt:lpstr>PowerPoint Presentation</vt:lpstr>
      <vt:lpstr>PowerPoint Presentation</vt:lpstr>
      <vt:lpstr>Purpose &amp; Scope of Projects</vt:lpstr>
      <vt:lpstr>Projects Background</vt:lpstr>
      <vt:lpstr>Projects Background</vt:lpstr>
      <vt:lpstr>Projects Background</vt:lpstr>
      <vt:lpstr>Deliverables</vt:lpstr>
      <vt:lpstr>Deliverables</vt:lpstr>
      <vt:lpstr>Deliverables</vt:lpstr>
      <vt:lpstr>Major Achievements, Challenges and Key Learning Points</vt:lpstr>
      <vt:lpstr>Major Achievements, Challenges and Key Learning Points</vt:lpstr>
      <vt:lpstr>Thank You</vt:lpstr>
    </vt:vector>
  </TitlesOfParts>
  <Company>ams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ow to …</dc:title>
  <dc:creator>Tan, Ee Chan (ams@OSRAM)</dc:creator>
  <dc:description>Verantwortlich: Eva Maria Schleip</dc:description>
  <cp:lastModifiedBy>Kobe CHANG Ze Rui</cp:lastModifiedBy>
  <cp:revision>431</cp:revision>
  <dcterms:created xsi:type="dcterms:W3CDTF">2021-07-29T11:50:54Z</dcterms:created>
  <dcterms:modified xsi:type="dcterms:W3CDTF">2025-06-12T03:25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5059C42A7EB564AB9004D372A22083800CD1243FB55D09148AFF6A44853DBF130</vt:lpwstr>
  </property>
  <property fmtid="{D5CDD505-2E9C-101B-9397-08002B2CF9AE}" pid="3" name="_dlc_DocIdItemGuid">
    <vt:lpwstr>2a971265-9bcf-446d-95b5-a9b0dc107b9f</vt:lpwstr>
  </property>
  <property fmtid="{D5CDD505-2E9C-101B-9397-08002B2CF9AE}" pid="4" name="MSIP_Label_f9dda1df-3fca-45c7-91be-5629a3733338_Enabled">
    <vt:lpwstr>true</vt:lpwstr>
  </property>
  <property fmtid="{D5CDD505-2E9C-101B-9397-08002B2CF9AE}" pid="5" name="MSIP_Label_f9dda1df-3fca-45c7-91be-5629a3733338_SetDate">
    <vt:lpwstr>2021-07-29T11:52:08Z</vt:lpwstr>
  </property>
  <property fmtid="{D5CDD505-2E9C-101B-9397-08002B2CF9AE}" pid="6" name="MSIP_Label_f9dda1df-3fca-45c7-91be-5629a3733338_Method">
    <vt:lpwstr>Standard</vt:lpwstr>
  </property>
  <property fmtid="{D5CDD505-2E9C-101B-9397-08002B2CF9AE}" pid="7" name="MSIP_Label_f9dda1df-3fca-45c7-91be-5629a3733338_Name">
    <vt:lpwstr>f9dda1df-3fca-45c7-91be-5629a3733338</vt:lpwstr>
  </property>
  <property fmtid="{D5CDD505-2E9C-101B-9397-08002B2CF9AE}" pid="8" name="MSIP_Label_f9dda1df-3fca-45c7-91be-5629a3733338_SiteId">
    <vt:lpwstr>ec1ca250-c234-4d56-a76b-7dfb9eee0c46</vt:lpwstr>
  </property>
  <property fmtid="{D5CDD505-2E9C-101B-9397-08002B2CF9AE}" pid="9" name="MSIP_Label_f9dda1df-3fca-45c7-91be-5629a3733338_ActionId">
    <vt:lpwstr>5d1195ef-764e-4354-8c5b-381fc0d18ece</vt:lpwstr>
  </property>
  <property fmtid="{D5CDD505-2E9C-101B-9397-08002B2CF9AE}" pid="10" name="MSIP_Label_f9dda1df-3fca-45c7-91be-5629a3733338_ContentBits">
    <vt:lpwstr>0</vt:lpwstr>
  </property>
</Properties>
</file>